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72" r:id="rId1"/>
    <p:sldMasterId id="2147483677" r:id="rId2"/>
  </p:sldMasterIdLst>
  <p:sldIdLst>
    <p:sldId id="697" r:id="rId3"/>
    <p:sldId id="333" r:id="rId4"/>
  </p:sldIdLst>
  <p:sldSz cx="9144000" cy="6858000" type="screen4x3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610"/>
    <p:restoredTop sz="96024"/>
  </p:normalViewPr>
  <p:slideViewPr>
    <p:cSldViewPr snapToGrid="0" snapToObjects="1">
      <p:cViewPr varScale="1">
        <p:scale>
          <a:sx n="113" d="100"/>
          <a:sy n="113" d="100"/>
        </p:scale>
        <p:origin x="1504" y="18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bleStyles" Target="tableStyles.xml"/><Relationship Id="rId3" Type="http://schemas.openxmlformats.org/officeDocument/2006/relationships/slide" Target="slides/slide1.xml"/><Relationship Id="rId7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viewProps" Target="viewProps.xml"/><Relationship Id="rId5" Type="http://schemas.openxmlformats.org/officeDocument/2006/relationships/presProps" Target="presProps.xml"/><Relationship Id="rId4" Type="http://schemas.openxmlformats.org/officeDocument/2006/relationships/slide" Target="slides/slide2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5.emf"/><Relationship Id="rId5" Type="http://schemas.openxmlformats.org/officeDocument/2006/relationships/image" Target="../media/image4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621" y="1621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1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3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21" y="1621"/>
                        <a:ext cx="1619" cy="161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/>
          <p:cNvSpPr txBox="1">
            <a:spLocks noChangeArrowheads="1"/>
          </p:cNvSpPr>
          <p:nvPr/>
        </p:nvSpPr>
        <p:spPr bwMode="auto">
          <a:xfrm>
            <a:off x="8614312" y="37255"/>
            <a:ext cx="301290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en-US" sz="816" dirty="0">
              <a:solidFill>
                <a:prstClr val="black"/>
              </a:solidFill>
              <a:latin typeface="Arial"/>
            </a:endParaRPr>
          </a:p>
        </p:txBody>
      </p:sp>
      <p:grpSp>
        <p:nvGrpSpPr>
          <p:cNvPr id="2" name="Title Elements"/>
          <p:cNvGrpSpPr/>
          <p:nvPr userDrawn="1"/>
        </p:nvGrpSpPr>
        <p:grpSpPr>
          <a:xfrm>
            <a:off x="0" y="1"/>
            <a:ext cx="9140761" cy="6859620"/>
            <a:chOff x="0" y="0"/>
            <a:chExt cx="8958264" cy="6723063"/>
          </a:xfrm>
        </p:grpSpPr>
        <p:sp>
          <p:nvSpPr>
            <p:cNvPr id="9" name="Document type" hidden="1"/>
            <p:cNvSpPr txBox="1">
              <a:spLocks noChangeArrowheads="1"/>
            </p:cNvSpPr>
            <p:nvPr/>
          </p:nvSpPr>
          <p:spPr bwMode="auto">
            <a:xfrm>
              <a:off x="2640013" y="4926935"/>
              <a:ext cx="4935538" cy="21974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1428" dirty="0">
                  <a:solidFill>
                    <a:prstClr val="black"/>
                  </a:solidFill>
                  <a:latin typeface="Arial"/>
                </a:rPr>
                <a:t>Document type</a:t>
              </a:r>
            </a:p>
          </p:txBody>
        </p:sp>
        <p:sp>
          <p:nvSpPr>
            <p:cNvPr id="10" name="Date" hidden="1"/>
            <p:cNvSpPr txBox="1">
              <a:spLocks noChangeArrowheads="1"/>
            </p:cNvSpPr>
            <p:nvPr/>
          </p:nvSpPr>
          <p:spPr bwMode="auto">
            <a:xfrm>
              <a:off x="2640013" y="5199063"/>
              <a:ext cx="4935538" cy="21974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1428" dirty="0">
                  <a:solidFill>
                    <a:prstClr val="black"/>
                  </a:solidFill>
                  <a:latin typeface="Arial"/>
                </a:rPr>
                <a:t>Date</a:t>
              </a:r>
            </a:p>
          </p:txBody>
        </p:sp>
        <p:sp>
          <p:nvSpPr>
            <p:cNvPr id="11" name="Disclaimer" hidden="1"/>
            <p:cNvSpPr>
              <a:spLocks noChangeArrowheads="1"/>
            </p:cNvSpPr>
            <p:nvPr/>
          </p:nvSpPr>
          <p:spPr bwMode="auto">
            <a:xfrm>
              <a:off x="2640013" y="5889356"/>
              <a:ext cx="5121275" cy="25109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821202" eaLnBrk="0" hangingPunct="0"/>
              <a:r>
                <a:rPr lang="en-US" sz="816" dirty="0">
                  <a:solidFill>
                    <a:prstClr val="black"/>
                  </a:solidFill>
                  <a:latin typeface="Arial"/>
                </a:rPr>
                <a:t>CONFIDENTIAL AND PROPRIETARY</a:t>
              </a:r>
            </a:p>
            <a:p>
              <a:pPr defTabSz="821202" eaLnBrk="0" hangingPunct="0"/>
              <a:r>
                <a:rPr lang="en-US" sz="816" dirty="0">
                  <a:solidFill>
                    <a:prstClr val="black"/>
                  </a:solidFill>
                  <a:latin typeface="Arial"/>
                </a:rPr>
                <a:t>Any use of this material without specific permission of McKinsey &amp; Company is strictly prohibited</a:t>
              </a:r>
            </a:p>
          </p:txBody>
        </p:sp>
        <p:sp>
          <p:nvSpPr>
            <p:cNvPr id="12" name="TitleBottomPlaceholder" hidden="1"/>
            <p:cNvSpPr>
              <a:spLocks noChangeArrowheads="1"/>
            </p:cNvSpPr>
            <p:nvPr/>
          </p:nvSpPr>
          <p:spPr bwMode="auto">
            <a:xfrm>
              <a:off x="0" y="2238375"/>
              <a:ext cx="2193925" cy="4484688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837" dirty="0">
                <a:solidFill>
                  <a:prstClr val="black"/>
                </a:solidFill>
                <a:latin typeface="Arial"/>
              </a:endParaRPr>
            </a:p>
          </p:txBody>
        </p:sp>
        <p:sp>
          <p:nvSpPr>
            <p:cNvPr id="13" name="TitleTopPlaceholder" hidden="1"/>
            <p:cNvSpPr>
              <a:spLocks noChangeArrowheads="1"/>
            </p:cNvSpPr>
            <p:nvPr/>
          </p:nvSpPr>
          <p:spPr bwMode="auto">
            <a:xfrm>
              <a:off x="0" y="0"/>
              <a:ext cx="2193925" cy="2238375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837" dirty="0">
                <a:solidFill>
                  <a:prstClr val="black"/>
                </a:solidFill>
                <a:latin typeface="Arial"/>
              </a:endParaRPr>
            </a:p>
          </p:txBody>
        </p:sp>
        <p:sp>
          <p:nvSpPr>
            <p:cNvPr id="19" name="Rectangle 18" hidden="1"/>
            <p:cNvSpPr/>
            <p:nvPr/>
          </p:nvSpPr>
          <p:spPr>
            <a:xfrm>
              <a:off x="0" y="0"/>
              <a:ext cx="8958264" cy="6721475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37" dirty="0">
                <a:solidFill>
                  <a:prstClr val="black"/>
                </a:solidFill>
              </a:endParaRPr>
            </a:p>
          </p:txBody>
        </p:sp>
      </p:grpSp>
      <p:pic>
        <p:nvPicPr>
          <p:cNvPr id="18" name="TitleBottomBarBW" hidden="1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20060" y="6574545"/>
            <a:ext cx="1670055" cy="1959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574135" y="3114047"/>
            <a:ext cx="8040009" cy="659459"/>
          </a:xfrm>
          <a:prstGeom prst="rect">
            <a:avLst/>
          </a:prstGeom>
        </p:spPr>
        <p:txBody>
          <a:bodyPr/>
          <a:lstStyle>
            <a:lvl1pPr>
              <a:defRPr sz="4285" b="0" baseline="0">
                <a:solidFill>
                  <a:srgbClr val="375199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lvl="0"/>
            <a:r>
              <a:rPr lang="en-US" noProof="0" dirty="0"/>
              <a:t>Click to edit Master title style</a:t>
            </a:r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574135" y="4692314"/>
            <a:ext cx="5036084" cy="345431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2245" baseline="0">
                <a:solidFill>
                  <a:schemeClr val="tx2"/>
                </a:solidFill>
                <a:latin typeface="+mn-lt"/>
                <a:ea typeface="+mn-ea"/>
              </a:defRPr>
            </a:lvl1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  <p:grpSp>
        <p:nvGrpSpPr>
          <p:cNvPr id="30" name="Group 29"/>
          <p:cNvGrpSpPr/>
          <p:nvPr userDrawn="1"/>
        </p:nvGrpSpPr>
        <p:grpSpPr>
          <a:xfrm>
            <a:off x="6575991" y="423027"/>
            <a:ext cx="2038152" cy="1529150"/>
            <a:chOff x="4546451" y="36513"/>
            <a:chExt cx="4281734" cy="3212617"/>
          </a:xfrm>
        </p:grpSpPr>
        <p:grpSp>
          <p:nvGrpSpPr>
            <p:cNvPr id="32" name="Group 31"/>
            <p:cNvGrpSpPr/>
            <p:nvPr userDrawn="1"/>
          </p:nvGrpSpPr>
          <p:grpSpPr>
            <a:xfrm>
              <a:off x="4546451" y="36513"/>
              <a:ext cx="4281734" cy="3212617"/>
              <a:chOff x="5092995" y="4741712"/>
              <a:chExt cx="1364293" cy="1023639"/>
            </a:xfrm>
          </p:grpSpPr>
          <p:sp>
            <p:nvSpPr>
              <p:cNvPr id="34" name="Oval 33"/>
              <p:cNvSpPr/>
              <p:nvPr userDrawn="1"/>
            </p:nvSpPr>
            <p:spPr>
              <a:xfrm flipH="1">
                <a:off x="5121276" y="4741712"/>
                <a:ext cx="1336012" cy="1023639"/>
              </a:xfrm>
              <a:prstGeom prst="ellipse">
                <a:avLst/>
              </a:prstGeom>
              <a:solidFill>
                <a:srgbClr val="6F0710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37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35" name="Oval 34"/>
              <p:cNvSpPr/>
              <p:nvPr userDrawn="1"/>
            </p:nvSpPr>
            <p:spPr>
              <a:xfrm flipH="1">
                <a:off x="5121276" y="4830540"/>
                <a:ext cx="1104142" cy="845983"/>
              </a:xfrm>
              <a:prstGeom prst="ellipse">
                <a:avLst/>
              </a:prstGeom>
              <a:solidFill>
                <a:srgbClr val="E06020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37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36" name="Oval 35"/>
              <p:cNvSpPr/>
              <p:nvPr userDrawn="1"/>
            </p:nvSpPr>
            <p:spPr>
              <a:xfrm flipH="1">
                <a:off x="5121276" y="4903952"/>
                <a:ext cx="912514" cy="699159"/>
              </a:xfrm>
              <a:prstGeom prst="ellipse">
                <a:avLst/>
              </a:prstGeom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37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37" name="Oval 36"/>
              <p:cNvSpPr/>
              <p:nvPr userDrawn="1"/>
            </p:nvSpPr>
            <p:spPr>
              <a:xfrm flipH="1">
                <a:off x="5092995" y="4949886"/>
                <a:ext cx="754144" cy="607291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37" dirty="0">
                  <a:solidFill>
                    <a:schemeClr val="tx1"/>
                  </a:solidFill>
                </a:endParaRPr>
              </a:p>
            </p:txBody>
          </p:sp>
        </p:grpSp>
        <p:sp>
          <p:nvSpPr>
            <p:cNvPr id="33" name="Freeform 41"/>
            <p:cNvSpPr>
              <a:spLocks/>
            </p:cNvSpPr>
            <p:nvPr userDrawn="1"/>
          </p:nvSpPr>
          <p:spPr bwMode="gray">
            <a:xfrm>
              <a:off x="4970507" y="953526"/>
              <a:ext cx="1278348" cy="1418128"/>
            </a:xfrm>
            <a:custGeom>
              <a:avLst/>
              <a:gdLst/>
              <a:ahLst/>
              <a:cxnLst/>
              <a:rect l="l" t="t" r="r" b="b"/>
              <a:pathLst>
                <a:path w="4758872" h="5279224">
                  <a:moveTo>
                    <a:pt x="4623602" y="3613775"/>
                  </a:moveTo>
                  <a:cubicBezTo>
                    <a:pt x="4628404" y="3617119"/>
                    <a:pt x="4638009" y="3642198"/>
                    <a:pt x="4644412" y="3653901"/>
                  </a:cubicBezTo>
                  <a:cubicBezTo>
                    <a:pt x="4647614" y="3665605"/>
                    <a:pt x="4647614" y="3675636"/>
                    <a:pt x="4658820" y="3683996"/>
                  </a:cubicBezTo>
                  <a:cubicBezTo>
                    <a:pt x="4665223" y="3699043"/>
                    <a:pt x="4665223" y="3702387"/>
                    <a:pt x="4673228" y="3717434"/>
                  </a:cubicBezTo>
                  <a:cubicBezTo>
                    <a:pt x="4674828" y="3732482"/>
                    <a:pt x="4674828" y="3727466"/>
                    <a:pt x="4676429" y="3744185"/>
                  </a:cubicBezTo>
                  <a:cubicBezTo>
                    <a:pt x="4678030" y="3760904"/>
                    <a:pt x="4678030" y="3799359"/>
                    <a:pt x="4681232" y="3814406"/>
                  </a:cubicBezTo>
                  <a:cubicBezTo>
                    <a:pt x="4682833" y="3831125"/>
                    <a:pt x="4690837" y="3827781"/>
                    <a:pt x="4692438" y="3837813"/>
                  </a:cubicBezTo>
                  <a:cubicBezTo>
                    <a:pt x="4694038" y="3847845"/>
                    <a:pt x="4695639" y="3866236"/>
                    <a:pt x="4692438" y="3874595"/>
                  </a:cubicBezTo>
                  <a:cubicBezTo>
                    <a:pt x="4689236" y="3882955"/>
                    <a:pt x="4681232" y="3892986"/>
                    <a:pt x="4676429" y="3892986"/>
                  </a:cubicBezTo>
                  <a:cubicBezTo>
                    <a:pt x="4671627" y="3894658"/>
                    <a:pt x="4666824" y="3877939"/>
                    <a:pt x="4662022" y="3874595"/>
                  </a:cubicBezTo>
                  <a:cubicBezTo>
                    <a:pt x="4657219" y="3871251"/>
                    <a:pt x="4647614" y="3864564"/>
                    <a:pt x="4644412" y="3869580"/>
                  </a:cubicBezTo>
                  <a:cubicBezTo>
                    <a:pt x="4631606" y="3847845"/>
                    <a:pt x="4639610" y="3899674"/>
                    <a:pt x="4639610" y="3904690"/>
                  </a:cubicBezTo>
                  <a:cubicBezTo>
                    <a:pt x="4639610" y="3916393"/>
                    <a:pt x="4647614" y="3909706"/>
                    <a:pt x="4649215" y="3919737"/>
                  </a:cubicBezTo>
                  <a:cubicBezTo>
                    <a:pt x="4650816" y="3924753"/>
                    <a:pt x="4649215" y="3934785"/>
                    <a:pt x="4647614" y="3939800"/>
                  </a:cubicBezTo>
                  <a:cubicBezTo>
                    <a:pt x="4646013" y="3946488"/>
                    <a:pt x="4642812" y="3946488"/>
                    <a:pt x="4639610" y="3953176"/>
                  </a:cubicBezTo>
                  <a:cubicBezTo>
                    <a:pt x="4642812" y="3954848"/>
                    <a:pt x="4662022" y="3951504"/>
                    <a:pt x="4663623" y="3954848"/>
                  </a:cubicBezTo>
                  <a:cubicBezTo>
                    <a:pt x="4665223" y="3958192"/>
                    <a:pt x="4657219" y="3968223"/>
                    <a:pt x="4654017" y="3973239"/>
                  </a:cubicBezTo>
                  <a:cubicBezTo>
                    <a:pt x="4650816" y="3978255"/>
                    <a:pt x="4652417" y="3984942"/>
                    <a:pt x="4647614" y="3984942"/>
                  </a:cubicBezTo>
                  <a:cubicBezTo>
                    <a:pt x="4642812" y="3984942"/>
                    <a:pt x="4633207" y="3964879"/>
                    <a:pt x="4628404" y="3969895"/>
                  </a:cubicBezTo>
                  <a:cubicBezTo>
                    <a:pt x="4625202" y="3974911"/>
                    <a:pt x="4623602" y="3999990"/>
                    <a:pt x="4620400" y="4018381"/>
                  </a:cubicBezTo>
                  <a:cubicBezTo>
                    <a:pt x="4620400" y="4030084"/>
                    <a:pt x="4626803" y="4038444"/>
                    <a:pt x="4625202" y="4043460"/>
                  </a:cubicBezTo>
                  <a:cubicBezTo>
                    <a:pt x="4623602" y="4048475"/>
                    <a:pt x="4615597" y="4041788"/>
                    <a:pt x="4613997" y="4048475"/>
                  </a:cubicBezTo>
                  <a:cubicBezTo>
                    <a:pt x="4612396" y="4055163"/>
                    <a:pt x="4613997" y="4075226"/>
                    <a:pt x="4610795" y="4085258"/>
                  </a:cubicBezTo>
                  <a:cubicBezTo>
                    <a:pt x="4609194" y="4096961"/>
                    <a:pt x="4601190" y="4098633"/>
                    <a:pt x="4596387" y="4108665"/>
                  </a:cubicBezTo>
                  <a:cubicBezTo>
                    <a:pt x="4593186" y="4117024"/>
                    <a:pt x="4589984" y="4125384"/>
                    <a:pt x="4586782" y="4133744"/>
                  </a:cubicBezTo>
                  <a:cubicBezTo>
                    <a:pt x="4583581" y="4142103"/>
                    <a:pt x="4583581" y="4145447"/>
                    <a:pt x="4580379" y="4155479"/>
                  </a:cubicBezTo>
                  <a:cubicBezTo>
                    <a:pt x="4570774" y="4172198"/>
                    <a:pt x="4573976" y="4172198"/>
                    <a:pt x="4570774" y="4193933"/>
                  </a:cubicBezTo>
                  <a:cubicBezTo>
                    <a:pt x="4569173" y="4203964"/>
                    <a:pt x="4557967" y="4215668"/>
                    <a:pt x="4553165" y="4224027"/>
                  </a:cubicBezTo>
                  <a:cubicBezTo>
                    <a:pt x="4551564" y="4234059"/>
                    <a:pt x="4546761" y="4239075"/>
                    <a:pt x="4543560" y="4249106"/>
                  </a:cubicBezTo>
                  <a:cubicBezTo>
                    <a:pt x="4541959" y="4259138"/>
                    <a:pt x="4538757" y="4270841"/>
                    <a:pt x="4533955" y="4280873"/>
                  </a:cubicBezTo>
                  <a:cubicBezTo>
                    <a:pt x="4532354" y="4295920"/>
                    <a:pt x="4530753" y="4297592"/>
                    <a:pt x="4522749" y="4309296"/>
                  </a:cubicBezTo>
                  <a:cubicBezTo>
                    <a:pt x="4517946" y="4326015"/>
                    <a:pt x="4511543" y="4339390"/>
                    <a:pt x="4505140" y="4354438"/>
                  </a:cubicBezTo>
                  <a:cubicBezTo>
                    <a:pt x="4503539" y="4364469"/>
                    <a:pt x="4500337" y="4369485"/>
                    <a:pt x="4495535" y="4379516"/>
                  </a:cubicBezTo>
                  <a:cubicBezTo>
                    <a:pt x="4493934" y="4399580"/>
                    <a:pt x="4493934" y="4401251"/>
                    <a:pt x="4485930" y="4416299"/>
                  </a:cubicBezTo>
                  <a:cubicBezTo>
                    <a:pt x="4484329" y="4431346"/>
                    <a:pt x="4479526" y="4443050"/>
                    <a:pt x="4466720" y="4449737"/>
                  </a:cubicBezTo>
                  <a:cubicBezTo>
                    <a:pt x="4461917" y="4461441"/>
                    <a:pt x="4473123" y="4469800"/>
                    <a:pt x="4469921" y="4481504"/>
                  </a:cubicBezTo>
                  <a:cubicBezTo>
                    <a:pt x="4466720" y="4493207"/>
                    <a:pt x="4453913" y="4504911"/>
                    <a:pt x="4447510" y="4516614"/>
                  </a:cubicBezTo>
                  <a:cubicBezTo>
                    <a:pt x="4445909" y="4528318"/>
                    <a:pt x="4429900" y="4546709"/>
                    <a:pt x="4433102" y="4555069"/>
                  </a:cubicBezTo>
                  <a:lnTo>
                    <a:pt x="4426624" y="4560346"/>
                  </a:lnTo>
                  <a:cubicBezTo>
                    <a:pt x="4426999" y="4559875"/>
                    <a:pt x="4441106" y="4546709"/>
                    <a:pt x="4407489" y="4561756"/>
                  </a:cubicBezTo>
                  <a:lnTo>
                    <a:pt x="4404287" y="4570116"/>
                  </a:lnTo>
                  <a:cubicBezTo>
                    <a:pt x="4394682" y="4581819"/>
                    <a:pt x="4367468" y="4576804"/>
                    <a:pt x="4361064" y="4576804"/>
                  </a:cubicBezTo>
                  <a:cubicBezTo>
                    <a:pt x="4359464" y="4590179"/>
                    <a:pt x="4354661" y="4588507"/>
                    <a:pt x="4341854" y="4591851"/>
                  </a:cubicBezTo>
                  <a:cubicBezTo>
                    <a:pt x="4333850" y="4595195"/>
                    <a:pt x="4327447" y="4600210"/>
                    <a:pt x="4321044" y="4605226"/>
                  </a:cubicBezTo>
                  <a:cubicBezTo>
                    <a:pt x="4313039" y="4606898"/>
                    <a:pt x="4303434" y="4598539"/>
                    <a:pt x="4293829" y="4596867"/>
                  </a:cubicBezTo>
                  <a:cubicBezTo>
                    <a:pt x="4284224" y="4595195"/>
                    <a:pt x="4273018" y="4598539"/>
                    <a:pt x="4263413" y="4595195"/>
                  </a:cubicBezTo>
                  <a:cubicBezTo>
                    <a:pt x="4257010" y="4583491"/>
                    <a:pt x="4249006" y="4588507"/>
                    <a:pt x="4239401" y="4580147"/>
                  </a:cubicBezTo>
                  <a:cubicBezTo>
                    <a:pt x="4234598" y="4571788"/>
                    <a:pt x="4228195" y="4568444"/>
                    <a:pt x="4221792" y="4560084"/>
                  </a:cubicBezTo>
                  <a:cubicBezTo>
                    <a:pt x="4220191" y="4546709"/>
                    <a:pt x="4213787" y="4538349"/>
                    <a:pt x="4207384" y="4526646"/>
                  </a:cubicBezTo>
                  <a:cubicBezTo>
                    <a:pt x="4204182" y="4516614"/>
                    <a:pt x="4202582" y="4509927"/>
                    <a:pt x="4200981" y="4499895"/>
                  </a:cubicBezTo>
                  <a:cubicBezTo>
                    <a:pt x="4199380" y="4489863"/>
                    <a:pt x="4197779" y="4479832"/>
                    <a:pt x="4197779" y="4469800"/>
                  </a:cubicBezTo>
                  <a:cubicBezTo>
                    <a:pt x="4215388" y="4463113"/>
                    <a:pt x="4207384" y="4449737"/>
                    <a:pt x="4197779" y="4434690"/>
                  </a:cubicBezTo>
                  <a:cubicBezTo>
                    <a:pt x="4196178" y="4417971"/>
                    <a:pt x="4191376" y="4417971"/>
                    <a:pt x="4181771" y="4404595"/>
                  </a:cubicBezTo>
                  <a:cubicBezTo>
                    <a:pt x="4178569" y="4391220"/>
                    <a:pt x="4176968" y="4374501"/>
                    <a:pt x="4178569" y="4359453"/>
                  </a:cubicBezTo>
                  <a:cubicBezTo>
                    <a:pt x="4180170" y="4344406"/>
                    <a:pt x="4188174" y="4326015"/>
                    <a:pt x="4191376" y="4314311"/>
                  </a:cubicBezTo>
                  <a:cubicBezTo>
                    <a:pt x="4199380" y="4304280"/>
                    <a:pt x="4186573" y="4295920"/>
                    <a:pt x="4197779" y="4294248"/>
                  </a:cubicBezTo>
                  <a:cubicBezTo>
                    <a:pt x="4202582" y="4289233"/>
                    <a:pt x="4215388" y="4289233"/>
                    <a:pt x="4220191" y="4284217"/>
                  </a:cubicBezTo>
                  <a:cubicBezTo>
                    <a:pt x="4224993" y="4279201"/>
                    <a:pt x="4221792" y="4270841"/>
                    <a:pt x="4224993" y="4264154"/>
                  </a:cubicBezTo>
                  <a:cubicBezTo>
                    <a:pt x="4226594" y="4244091"/>
                    <a:pt x="4226594" y="4242419"/>
                    <a:pt x="4244203" y="4239075"/>
                  </a:cubicBezTo>
                  <a:cubicBezTo>
                    <a:pt x="4252208" y="4224027"/>
                    <a:pt x="4244203" y="4207308"/>
                    <a:pt x="4263413" y="4203964"/>
                  </a:cubicBezTo>
                  <a:cubicBezTo>
                    <a:pt x="4266615" y="4187245"/>
                    <a:pt x="4263413" y="4163838"/>
                    <a:pt x="4263413" y="4148791"/>
                  </a:cubicBezTo>
                  <a:cubicBezTo>
                    <a:pt x="4263413" y="4133744"/>
                    <a:pt x="4261813" y="4115352"/>
                    <a:pt x="4260212" y="4108665"/>
                  </a:cubicBezTo>
                  <a:cubicBezTo>
                    <a:pt x="4260212" y="4106993"/>
                    <a:pt x="4255409" y="4106993"/>
                    <a:pt x="4253808" y="4105321"/>
                  </a:cubicBezTo>
                  <a:cubicBezTo>
                    <a:pt x="4252208" y="4103649"/>
                    <a:pt x="4250607" y="4100305"/>
                    <a:pt x="4249006" y="4098633"/>
                  </a:cubicBezTo>
                  <a:cubicBezTo>
                    <a:pt x="4245804" y="4085258"/>
                    <a:pt x="4242603" y="4026740"/>
                    <a:pt x="4244203" y="4008349"/>
                  </a:cubicBezTo>
                  <a:cubicBezTo>
                    <a:pt x="4245804" y="3989958"/>
                    <a:pt x="4253808" y="3994974"/>
                    <a:pt x="4258611" y="3988286"/>
                  </a:cubicBezTo>
                  <a:cubicBezTo>
                    <a:pt x="4263413" y="3981598"/>
                    <a:pt x="4269817" y="3971567"/>
                    <a:pt x="4274619" y="3963207"/>
                  </a:cubicBezTo>
                  <a:cubicBezTo>
                    <a:pt x="4277821" y="3951504"/>
                    <a:pt x="4274619" y="3924753"/>
                    <a:pt x="4282623" y="3918065"/>
                  </a:cubicBezTo>
                  <a:cubicBezTo>
                    <a:pt x="4285825" y="3904690"/>
                    <a:pt x="4309838" y="3919737"/>
                    <a:pt x="4322644" y="3918065"/>
                  </a:cubicBezTo>
                  <a:cubicBezTo>
                    <a:pt x="4327447" y="3909706"/>
                    <a:pt x="4329048" y="3904690"/>
                    <a:pt x="4337052" y="3898002"/>
                  </a:cubicBezTo>
                  <a:cubicBezTo>
                    <a:pt x="4343455" y="3894658"/>
                    <a:pt x="4345056" y="3903018"/>
                    <a:pt x="4354661" y="3903018"/>
                  </a:cubicBezTo>
                  <a:cubicBezTo>
                    <a:pt x="4359464" y="3901346"/>
                    <a:pt x="4362665" y="3891315"/>
                    <a:pt x="4369069" y="3889643"/>
                  </a:cubicBezTo>
                  <a:cubicBezTo>
                    <a:pt x="4375472" y="3886299"/>
                    <a:pt x="4391480" y="3887971"/>
                    <a:pt x="4397884" y="3889643"/>
                  </a:cubicBezTo>
                  <a:cubicBezTo>
                    <a:pt x="4404287" y="3891315"/>
                    <a:pt x="4404287" y="3901346"/>
                    <a:pt x="4409090" y="3904690"/>
                  </a:cubicBezTo>
                  <a:cubicBezTo>
                    <a:pt x="4413892" y="3908034"/>
                    <a:pt x="4426699" y="3916393"/>
                    <a:pt x="4428300" y="3913050"/>
                  </a:cubicBezTo>
                  <a:cubicBezTo>
                    <a:pt x="4429900" y="3909706"/>
                    <a:pt x="4425098" y="3894658"/>
                    <a:pt x="4421896" y="3887971"/>
                  </a:cubicBezTo>
                  <a:cubicBezTo>
                    <a:pt x="4418695" y="3881283"/>
                    <a:pt x="4407489" y="3877939"/>
                    <a:pt x="4409090" y="3874595"/>
                  </a:cubicBezTo>
                  <a:cubicBezTo>
                    <a:pt x="4415493" y="3867908"/>
                    <a:pt x="4420295" y="3871251"/>
                    <a:pt x="4428300" y="3867908"/>
                  </a:cubicBezTo>
                  <a:cubicBezTo>
                    <a:pt x="4434703" y="3867908"/>
                    <a:pt x="4441106" y="3849516"/>
                    <a:pt x="4447510" y="3849516"/>
                  </a:cubicBezTo>
                  <a:cubicBezTo>
                    <a:pt x="4450711" y="3852860"/>
                    <a:pt x="4463518" y="3871251"/>
                    <a:pt x="4465119" y="3867908"/>
                  </a:cubicBezTo>
                  <a:cubicBezTo>
                    <a:pt x="4477925" y="3841157"/>
                    <a:pt x="4450711" y="3832797"/>
                    <a:pt x="4479526" y="3827781"/>
                  </a:cubicBezTo>
                  <a:cubicBezTo>
                    <a:pt x="4484329" y="3817750"/>
                    <a:pt x="4489131" y="3842829"/>
                    <a:pt x="4493934" y="3837813"/>
                  </a:cubicBezTo>
                  <a:cubicBezTo>
                    <a:pt x="4495535" y="3836141"/>
                    <a:pt x="4489131" y="3819422"/>
                    <a:pt x="4490732" y="3812734"/>
                  </a:cubicBezTo>
                  <a:cubicBezTo>
                    <a:pt x="4492333" y="3806046"/>
                    <a:pt x="4500337" y="3797687"/>
                    <a:pt x="4505140" y="3797687"/>
                  </a:cubicBezTo>
                  <a:cubicBezTo>
                    <a:pt x="4513144" y="3790999"/>
                    <a:pt x="4519547" y="3817750"/>
                    <a:pt x="4522749" y="3812734"/>
                  </a:cubicBezTo>
                  <a:cubicBezTo>
                    <a:pt x="4525951" y="3811062"/>
                    <a:pt x="4522749" y="3799359"/>
                    <a:pt x="4524350" y="3792671"/>
                  </a:cubicBezTo>
                  <a:cubicBezTo>
                    <a:pt x="4525951" y="3785983"/>
                    <a:pt x="4529152" y="3780968"/>
                    <a:pt x="4529152" y="3772608"/>
                  </a:cubicBezTo>
                  <a:cubicBezTo>
                    <a:pt x="4529152" y="3760904"/>
                    <a:pt x="4521148" y="3745857"/>
                    <a:pt x="4522749" y="3739169"/>
                  </a:cubicBezTo>
                  <a:cubicBezTo>
                    <a:pt x="4524350" y="3732482"/>
                    <a:pt x="4533955" y="3732482"/>
                    <a:pt x="4538757" y="3727466"/>
                  </a:cubicBezTo>
                  <a:lnTo>
                    <a:pt x="4547237" y="3731228"/>
                  </a:lnTo>
                  <a:cubicBezTo>
                    <a:pt x="4552565" y="3730601"/>
                    <a:pt x="4549563" y="3718688"/>
                    <a:pt x="4548362" y="3712419"/>
                  </a:cubicBezTo>
                  <a:lnTo>
                    <a:pt x="4551964" y="3706724"/>
                  </a:lnTo>
                  <a:cubicBezTo>
                    <a:pt x="4554666" y="3705940"/>
                    <a:pt x="4555566" y="3717852"/>
                    <a:pt x="4562770" y="3724122"/>
                  </a:cubicBezTo>
                  <a:cubicBezTo>
                    <a:pt x="4586782" y="3720778"/>
                    <a:pt x="4570774" y="3710747"/>
                    <a:pt x="4589984" y="3704059"/>
                  </a:cubicBezTo>
                  <a:cubicBezTo>
                    <a:pt x="4594787" y="3692356"/>
                    <a:pt x="4593186" y="3655573"/>
                    <a:pt x="4596387" y="3643870"/>
                  </a:cubicBezTo>
                  <a:cubicBezTo>
                    <a:pt x="4599589" y="3632166"/>
                    <a:pt x="4609194" y="3642198"/>
                    <a:pt x="4613997" y="3637182"/>
                  </a:cubicBezTo>
                  <a:cubicBezTo>
                    <a:pt x="4620400" y="3637182"/>
                    <a:pt x="4618799" y="3610431"/>
                    <a:pt x="4623602" y="3613775"/>
                  </a:cubicBezTo>
                  <a:close/>
                  <a:moveTo>
                    <a:pt x="4104187" y="2849912"/>
                  </a:moveTo>
                  <a:cubicBezTo>
                    <a:pt x="4103903" y="2852453"/>
                    <a:pt x="4101393" y="2855194"/>
                    <a:pt x="4104187" y="2849912"/>
                  </a:cubicBezTo>
                  <a:close/>
                  <a:moveTo>
                    <a:pt x="1459768" y="2256567"/>
                  </a:moveTo>
                  <a:cubicBezTo>
                    <a:pt x="1461366" y="2258228"/>
                    <a:pt x="1459589" y="2259201"/>
                    <a:pt x="1458749" y="2259515"/>
                  </a:cubicBezTo>
                  <a:cubicBezTo>
                    <a:pt x="1459538" y="2259103"/>
                    <a:pt x="1460036" y="2258080"/>
                    <a:pt x="1459768" y="2256567"/>
                  </a:cubicBezTo>
                  <a:close/>
                  <a:moveTo>
                    <a:pt x="1849353" y="744"/>
                  </a:moveTo>
                  <a:cubicBezTo>
                    <a:pt x="1857357" y="-928"/>
                    <a:pt x="1868563" y="744"/>
                    <a:pt x="1878168" y="744"/>
                  </a:cubicBezTo>
                  <a:cubicBezTo>
                    <a:pt x="1886172" y="4088"/>
                    <a:pt x="1889373" y="-928"/>
                    <a:pt x="1905382" y="5760"/>
                  </a:cubicBezTo>
                  <a:cubicBezTo>
                    <a:pt x="1910184" y="10776"/>
                    <a:pt x="1903781" y="24151"/>
                    <a:pt x="1906983" y="30839"/>
                  </a:cubicBezTo>
                  <a:cubicBezTo>
                    <a:pt x="1910184" y="37526"/>
                    <a:pt x="1918188" y="45886"/>
                    <a:pt x="1924592" y="45886"/>
                  </a:cubicBezTo>
                  <a:cubicBezTo>
                    <a:pt x="1930995" y="45886"/>
                    <a:pt x="1943802" y="30839"/>
                    <a:pt x="1950205" y="25823"/>
                  </a:cubicBezTo>
                  <a:cubicBezTo>
                    <a:pt x="1956609" y="20807"/>
                    <a:pt x="1966214" y="15791"/>
                    <a:pt x="1967814" y="17463"/>
                  </a:cubicBezTo>
                  <a:cubicBezTo>
                    <a:pt x="1966214" y="20807"/>
                    <a:pt x="1961411" y="22479"/>
                    <a:pt x="1959810" y="35854"/>
                  </a:cubicBezTo>
                  <a:cubicBezTo>
                    <a:pt x="1956609" y="42542"/>
                    <a:pt x="1953407" y="54246"/>
                    <a:pt x="1948604" y="60933"/>
                  </a:cubicBezTo>
                  <a:cubicBezTo>
                    <a:pt x="1943802" y="67621"/>
                    <a:pt x="1929394" y="69293"/>
                    <a:pt x="1926193" y="75981"/>
                  </a:cubicBezTo>
                  <a:cubicBezTo>
                    <a:pt x="1922991" y="82668"/>
                    <a:pt x="1926193" y="99388"/>
                    <a:pt x="1930995" y="106075"/>
                  </a:cubicBezTo>
                  <a:cubicBezTo>
                    <a:pt x="1935798" y="112763"/>
                    <a:pt x="1948604" y="112763"/>
                    <a:pt x="1953407" y="116107"/>
                  </a:cubicBezTo>
                  <a:cubicBezTo>
                    <a:pt x="1956609" y="121123"/>
                    <a:pt x="1972617" y="104403"/>
                    <a:pt x="1964613" y="122795"/>
                  </a:cubicBezTo>
                  <a:cubicBezTo>
                    <a:pt x="1966214" y="127810"/>
                    <a:pt x="1967814" y="144530"/>
                    <a:pt x="1967814" y="151217"/>
                  </a:cubicBezTo>
                  <a:cubicBezTo>
                    <a:pt x="1967814" y="157905"/>
                    <a:pt x="1966214" y="161249"/>
                    <a:pt x="1963012" y="167937"/>
                  </a:cubicBezTo>
                  <a:cubicBezTo>
                    <a:pt x="1959810" y="174624"/>
                    <a:pt x="1950205" y="186328"/>
                    <a:pt x="1943802" y="191343"/>
                  </a:cubicBezTo>
                  <a:cubicBezTo>
                    <a:pt x="1937398" y="196359"/>
                    <a:pt x="1927793" y="198031"/>
                    <a:pt x="1921390" y="203047"/>
                  </a:cubicBezTo>
                  <a:cubicBezTo>
                    <a:pt x="1914987" y="208063"/>
                    <a:pt x="1905382" y="214750"/>
                    <a:pt x="1905382" y="223110"/>
                  </a:cubicBezTo>
                  <a:cubicBezTo>
                    <a:pt x="1897378" y="246517"/>
                    <a:pt x="1890974" y="244845"/>
                    <a:pt x="1918188" y="256549"/>
                  </a:cubicBezTo>
                  <a:cubicBezTo>
                    <a:pt x="1922991" y="263236"/>
                    <a:pt x="1929394" y="266580"/>
                    <a:pt x="1935798" y="268252"/>
                  </a:cubicBezTo>
                  <a:cubicBezTo>
                    <a:pt x="1943802" y="271596"/>
                    <a:pt x="1956609" y="271596"/>
                    <a:pt x="1963012" y="276612"/>
                  </a:cubicBezTo>
                  <a:cubicBezTo>
                    <a:pt x="1972617" y="283299"/>
                    <a:pt x="1938999" y="291659"/>
                    <a:pt x="1979020" y="303362"/>
                  </a:cubicBezTo>
                  <a:cubicBezTo>
                    <a:pt x="1988625" y="308378"/>
                    <a:pt x="2004634" y="303362"/>
                    <a:pt x="2017440" y="306706"/>
                  </a:cubicBezTo>
                  <a:cubicBezTo>
                    <a:pt x="2030247" y="310050"/>
                    <a:pt x="2043054" y="325098"/>
                    <a:pt x="2054260" y="328441"/>
                  </a:cubicBezTo>
                  <a:cubicBezTo>
                    <a:pt x="2065465" y="331785"/>
                    <a:pt x="2081474" y="330113"/>
                    <a:pt x="2089478" y="328441"/>
                  </a:cubicBezTo>
                  <a:cubicBezTo>
                    <a:pt x="2097482" y="326769"/>
                    <a:pt x="2100684" y="320082"/>
                    <a:pt x="2107087" y="318410"/>
                  </a:cubicBezTo>
                  <a:lnTo>
                    <a:pt x="2127898" y="318410"/>
                  </a:lnTo>
                  <a:cubicBezTo>
                    <a:pt x="2132700" y="320082"/>
                    <a:pt x="2127898" y="330113"/>
                    <a:pt x="2132700" y="331785"/>
                  </a:cubicBezTo>
                  <a:cubicBezTo>
                    <a:pt x="2137503" y="333457"/>
                    <a:pt x="2151910" y="330113"/>
                    <a:pt x="2159915" y="331785"/>
                  </a:cubicBezTo>
                  <a:cubicBezTo>
                    <a:pt x="2167919" y="333457"/>
                    <a:pt x="2177524" y="338473"/>
                    <a:pt x="2183927" y="341817"/>
                  </a:cubicBezTo>
                  <a:cubicBezTo>
                    <a:pt x="2190331" y="345161"/>
                    <a:pt x="2195133" y="351848"/>
                    <a:pt x="2204738" y="353520"/>
                  </a:cubicBezTo>
                  <a:cubicBezTo>
                    <a:pt x="2214343" y="360208"/>
                    <a:pt x="2227150" y="343489"/>
                    <a:pt x="2238356" y="356864"/>
                  </a:cubicBezTo>
                  <a:cubicBezTo>
                    <a:pt x="2246360" y="360208"/>
                    <a:pt x="2252763" y="368568"/>
                    <a:pt x="2255965" y="376927"/>
                  </a:cubicBezTo>
                  <a:cubicBezTo>
                    <a:pt x="2259166" y="385287"/>
                    <a:pt x="2259166" y="395318"/>
                    <a:pt x="2260767" y="403678"/>
                  </a:cubicBezTo>
                  <a:cubicBezTo>
                    <a:pt x="2262368" y="412038"/>
                    <a:pt x="2265570" y="425413"/>
                    <a:pt x="2270372" y="430429"/>
                  </a:cubicBezTo>
                  <a:cubicBezTo>
                    <a:pt x="2273574" y="437117"/>
                    <a:pt x="2283179" y="435445"/>
                    <a:pt x="2289582" y="437117"/>
                  </a:cubicBezTo>
                  <a:cubicBezTo>
                    <a:pt x="2295986" y="438788"/>
                    <a:pt x="2299187" y="445476"/>
                    <a:pt x="2313595" y="447148"/>
                  </a:cubicBezTo>
                  <a:cubicBezTo>
                    <a:pt x="2328002" y="448820"/>
                    <a:pt x="2358418" y="442132"/>
                    <a:pt x="2372826" y="443804"/>
                  </a:cubicBezTo>
                  <a:cubicBezTo>
                    <a:pt x="2388834" y="445476"/>
                    <a:pt x="2384032" y="455508"/>
                    <a:pt x="2400040" y="462195"/>
                  </a:cubicBezTo>
                  <a:cubicBezTo>
                    <a:pt x="2409645" y="465539"/>
                    <a:pt x="2420851" y="460523"/>
                    <a:pt x="2428855" y="463867"/>
                  </a:cubicBezTo>
                  <a:cubicBezTo>
                    <a:pt x="2436859" y="467211"/>
                    <a:pt x="2438460" y="477243"/>
                    <a:pt x="2444863" y="482258"/>
                  </a:cubicBezTo>
                  <a:cubicBezTo>
                    <a:pt x="2451267" y="487274"/>
                    <a:pt x="2464073" y="488946"/>
                    <a:pt x="2472078" y="492290"/>
                  </a:cubicBezTo>
                  <a:cubicBezTo>
                    <a:pt x="2484884" y="497306"/>
                    <a:pt x="2478481" y="502322"/>
                    <a:pt x="2491288" y="507337"/>
                  </a:cubicBezTo>
                  <a:cubicBezTo>
                    <a:pt x="2497691" y="509009"/>
                    <a:pt x="2529708" y="512353"/>
                    <a:pt x="2529708" y="512353"/>
                  </a:cubicBezTo>
                  <a:cubicBezTo>
                    <a:pt x="2540914" y="509009"/>
                    <a:pt x="2550519" y="502322"/>
                    <a:pt x="2558523" y="483930"/>
                  </a:cubicBezTo>
                  <a:cubicBezTo>
                    <a:pt x="2566527" y="477243"/>
                    <a:pt x="2574531" y="482258"/>
                    <a:pt x="2577733" y="473899"/>
                  </a:cubicBezTo>
                  <a:cubicBezTo>
                    <a:pt x="2580935" y="465539"/>
                    <a:pt x="2579334" y="445476"/>
                    <a:pt x="2577733" y="432101"/>
                  </a:cubicBezTo>
                  <a:cubicBezTo>
                    <a:pt x="2576132" y="418725"/>
                    <a:pt x="2563325" y="407022"/>
                    <a:pt x="2563325" y="396990"/>
                  </a:cubicBezTo>
                  <a:cubicBezTo>
                    <a:pt x="2566527" y="390303"/>
                    <a:pt x="2577733" y="370239"/>
                    <a:pt x="2582535" y="366896"/>
                  </a:cubicBezTo>
                  <a:cubicBezTo>
                    <a:pt x="2590540" y="360208"/>
                    <a:pt x="2595342" y="348504"/>
                    <a:pt x="2611350" y="343489"/>
                  </a:cubicBezTo>
                  <a:cubicBezTo>
                    <a:pt x="2620955" y="338473"/>
                    <a:pt x="2630560" y="336801"/>
                    <a:pt x="2641766" y="333457"/>
                  </a:cubicBezTo>
                  <a:cubicBezTo>
                    <a:pt x="2652972" y="330113"/>
                    <a:pt x="2668981" y="325098"/>
                    <a:pt x="2683388" y="323426"/>
                  </a:cubicBezTo>
                  <a:cubicBezTo>
                    <a:pt x="2697796" y="323426"/>
                    <a:pt x="2705800" y="315066"/>
                    <a:pt x="2728211" y="323426"/>
                  </a:cubicBezTo>
                  <a:cubicBezTo>
                    <a:pt x="2739417" y="325098"/>
                    <a:pt x="2747421" y="333457"/>
                    <a:pt x="2755426" y="336801"/>
                  </a:cubicBezTo>
                  <a:cubicBezTo>
                    <a:pt x="2763430" y="340145"/>
                    <a:pt x="2776237" y="336801"/>
                    <a:pt x="2779438" y="341817"/>
                  </a:cubicBezTo>
                  <a:cubicBezTo>
                    <a:pt x="2782640" y="346833"/>
                    <a:pt x="2773035" y="366896"/>
                    <a:pt x="2779438" y="371911"/>
                  </a:cubicBezTo>
                  <a:cubicBezTo>
                    <a:pt x="2785842" y="376927"/>
                    <a:pt x="2808253" y="373583"/>
                    <a:pt x="2821060" y="376927"/>
                  </a:cubicBezTo>
                  <a:cubicBezTo>
                    <a:pt x="2833867" y="381943"/>
                    <a:pt x="2846673" y="385287"/>
                    <a:pt x="2859480" y="390303"/>
                  </a:cubicBezTo>
                  <a:cubicBezTo>
                    <a:pt x="2865883" y="391975"/>
                    <a:pt x="2885093" y="386959"/>
                    <a:pt x="2885093" y="386959"/>
                  </a:cubicBezTo>
                  <a:cubicBezTo>
                    <a:pt x="2893098" y="388631"/>
                    <a:pt x="2899501" y="390303"/>
                    <a:pt x="2909106" y="396990"/>
                  </a:cubicBezTo>
                  <a:cubicBezTo>
                    <a:pt x="2915509" y="403678"/>
                    <a:pt x="2913908" y="422069"/>
                    <a:pt x="2920312" y="427085"/>
                  </a:cubicBezTo>
                  <a:cubicBezTo>
                    <a:pt x="2926715" y="432101"/>
                    <a:pt x="2931518" y="425413"/>
                    <a:pt x="2942723" y="423741"/>
                  </a:cubicBezTo>
                  <a:cubicBezTo>
                    <a:pt x="2952328" y="423741"/>
                    <a:pt x="2971539" y="417053"/>
                    <a:pt x="2992349" y="418725"/>
                  </a:cubicBezTo>
                  <a:cubicBezTo>
                    <a:pt x="3003555" y="420397"/>
                    <a:pt x="2998753" y="427085"/>
                    <a:pt x="3006757" y="428757"/>
                  </a:cubicBezTo>
                  <a:cubicBezTo>
                    <a:pt x="3014761" y="430429"/>
                    <a:pt x="3030769" y="425413"/>
                    <a:pt x="3040374" y="427085"/>
                  </a:cubicBezTo>
                  <a:cubicBezTo>
                    <a:pt x="3049979" y="428757"/>
                    <a:pt x="3057984" y="440460"/>
                    <a:pt x="3067589" y="442132"/>
                  </a:cubicBezTo>
                  <a:cubicBezTo>
                    <a:pt x="3075593" y="448820"/>
                    <a:pt x="3080395" y="438788"/>
                    <a:pt x="3096404" y="442132"/>
                  </a:cubicBezTo>
                  <a:cubicBezTo>
                    <a:pt x="3102807" y="443804"/>
                    <a:pt x="3102807" y="452164"/>
                    <a:pt x="3110811" y="453836"/>
                  </a:cubicBezTo>
                  <a:cubicBezTo>
                    <a:pt x="3118815" y="455508"/>
                    <a:pt x="3133223" y="450492"/>
                    <a:pt x="3141227" y="452164"/>
                  </a:cubicBezTo>
                  <a:cubicBezTo>
                    <a:pt x="3149231" y="453836"/>
                    <a:pt x="3150832" y="460523"/>
                    <a:pt x="3160437" y="463867"/>
                  </a:cubicBezTo>
                  <a:cubicBezTo>
                    <a:pt x="3168441" y="465539"/>
                    <a:pt x="3182849" y="473899"/>
                    <a:pt x="3197256" y="472227"/>
                  </a:cubicBezTo>
                  <a:cubicBezTo>
                    <a:pt x="3210063" y="470555"/>
                    <a:pt x="3227672" y="457180"/>
                    <a:pt x="3235676" y="452164"/>
                  </a:cubicBezTo>
                  <a:cubicBezTo>
                    <a:pt x="3242080" y="450492"/>
                    <a:pt x="3243681" y="437117"/>
                    <a:pt x="3250084" y="437117"/>
                  </a:cubicBezTo>
                  <a:cubicBezTo>
                    <a:pt x="3259689" y="433773"/>
                    <a:pt x="3245281" y="427085"/>
                    <a:pt x="3290105" y="428757"/>
                  </a:cubicBezTo>
                  <a:cubicBezTo>
                    <a:pt x="3299710" y="427085"/>
                    <a:pt x="3302912" y="422069"/>
                    <a:pt x="3309315" y="422069"/>
                  </a:cubicBezTo>
                  <a:cubicBezTo>
                    <a:pt x="3315718" y="422069"/>
                    <a:pt x="3323722" y="423741"/>
                    <a:pt x="3333327" y="423741"/>
                  </a:cubicBezTo>
                  <a:cubicBezTo>
                    <a:pt x="3342932" y="423741"/>
                    <a:pt x="3360542" y="423741"/>
                    <a:pt x="3366945" y="427085"/>
                  </a:cubicBezTo>
                  <a:cubicBezTo>
                    <a:pt x="3373348" y="430429"/>
                    <a:pt x="3366945" y="438788"/>
                    <a:pt x="3370147" y="442132"/>
                  </a:cubicBezTo>
                  <a:cubicBezTo>
                    <a:pt x="3373348" y="445476"/>
                    <a:pt x="3384554" y="442132"/>
                    <a:pt x="3390958" y="443804"/>
                  </a:cubicBezTo>
                  <a:cubicBezTo>
                    <a:pt x="3397361" y="445476"/>
                    <a:pt x="3405365" y="450492"/>
                    <a:pt x="3413369" y="452164"/>
                  </a:cubicBezTo>
                  <a:cubicBezTo>
                    <a:pt x="3421373" y="453836"/>
                    <a:pt x="3430978" y="457180"/>
                    <a:pt x="3437382" y="457180"/>
                  </a:cubicBezTo>
                  <a:cubicBezTo>
                    <a:pt x="3443785" y="457180"/>
                    <a:pt x="3448588" y="450492"/>
                    <a:pt x="3456592" y="448820"/>
                  </a:cubicBezTo>
                  <a:cubicBezTo>
                    <a:pt x="3464596" y="447148"/>
                    <a:pt x="3475802" y="452164"/>
                    <a:pt x="3485407" y="452164"/>
                  </a:cubicBezTo>
                  <a:cubicBezTo>
                    <a:pt x="3495012" y="452164"/>
                    <a:pt x="3512621" y="453836"/>
                    <a:pt x="3519024" y="450492"/>
                  </a:cubicBezTo>
                  <a:cubicBezTo>
                    <a:pt x="3528629" y="453836"/>
                    <a:pt x="3522226" y="427085"/>
                    <a:pt x="3528629" y="433773"/>
                  </a:cubicBezTo>
                  <a:cubicBezTo>
                    <a:pt x="3531831" y="437117"/>
                    <a:pt x="3539835" y="458852"/>
                    <a:pt x="3543037" y="467211"/>
                  </a:cubicBezTo>
                  <a:cubicBezTo>
                    <a:pt x="3546239" y="475571"/>
                    <a:pt x="3549440" y="480587"/>
                    <a:pt x="3552642" y="488946"/>
                  </a:cubicBezTo>
                  <a:cubicBezTo>
                    <a:pt x="3555844" y="497306"/>
                    <a:pt x="3560646" y="507337"/>
                    <a:pt x="3563848" y="517369"/>
                  </a:cubicBezTo>
                  <a:cubicBezTo>
                    <a:pt x="3565449" y="525729"/>
                    <a:pt x="3573453" y="527400"/>
                    <a:pt x="3571852" y="547464"/>
                  </a:cubicBezTo>
                  <a:cubicBezTo>
                    <a:pt x="3573453" y="555823"/>
                    <a:pt x="3578255" y="562511"/>
                    <a:pt x="3578255" y="569199"/>
                  </a:cubicBezTo>
                  <a:cubicBezTo>
                    <a:pt x="3578255" y="575886"/>
                    <a:pt x="3571852" y="584246"/>
                    <a:pt x="3571852" y="592606"/>
                  </a:cubicBezTo>
                  <a:cubicBezTo>
                    <a:pt x="3571852" y="600965"/>
                    <a:pt x="3578255" y="610997"/>
                    <a:pt x="3576655" y="617684"/>
                  </a:cubicBezTo>
                  <a:cubicBezTo>
                    <a:pt x="3575054" y="624372"/>
                    <a:pt x="3563848" y="624372"/>
                    <a:pt x="3557445" y="637748"/>
                  </a:cubicBezTo>
                  <a:cubicBezTo>
                    <a:pt x="3555844" y="657811"/>
                    <a:pt x="3549440" y="686233"/>
                    <a:pt x="3539835" y="702953"/>
                  </a:cubicBezTo>
                  <a:cubicBezTo>
                    <a:pt x="3538234" y="704625"/>
                    <a:pt x="3512621" y="679546"/>
                    <a:pt x="3509419" y="677874"/>
                  </a:cubicBezTo>
                  <a:cubicBezTo>
                    <a:pt x="3498214" y="666170"/>
                    <a:pt x="3480604" y="646107"/>
                    <a:pt x="3472600" y="634404"/>
                  </a:cubicBezTo>
                  <a:cubicBezTo>
                    <a:pt x="3466197" y="622700"/>
                    <a:pt x="3472600" y="617684"/>
                    <a:pt x="3467798" y="607653"/>
                  </a:cubicBezTo>
                  <a:cubicBezTo>
                    <a:pt x="3462995" y="597621"/>
                    <a:pt x="3450189" y="587590"/>
                    <a:pt x="3442184" y="577558"/>
                  </a:cubicBezTo>
                  <a:cubicBezTo>
                    <a:pt x="3435781" y="569199"/>
                    <a:pt x="3435781" y="564183"/>
                    <a:pt x="3432579" y="557495"/>
                  </a:cubicBezTo>
                  <a:cubicBezTo>
                    <a:pt x="3429378" y="550807"/>
                    <a:pt x="3421373" y="537432"/>
                    <a:pt x="3418172" y="539104"/>
                  </a:cubicBezTo>
                  <a:cubicBezTo>
                    <a:pt x="3416571" y="539104"/>
                    <a:pt x="3411768" y="557495"/>
                    <a:pt x="3413369" y="564183"/>
                  </a:cubicBezTo>
                  <a:cubicBezTo>
                    <a:pt x="3414970" y="570871"/>
                    <a:pt x="3424575" y="574214"/>
                    <a:pt x="3429378" y="584246"/>
                  </a:cubicBezTo>
                  <a:cubicBezTo>
                    <a:pt x="3434180" y="594277"/>
                    <a:pt x="3434180" y="610997"/>
                    <a:pt x="3438983" y="622700"/>
                  </a:cubicBezTo>
                  <a:cubicBezTo>
                    <a:pt x="3443785" y="634404"/>
                    <a:pt x="3454991" y="649451"/>
                    <a:pt x="3462995" y="659483"/>
                  </a:cubicBezTo>
                  <a:cubicBezTo>
                    <a:pt x="3470999" y="669514"/>
                    <a:pt x="3480604" y="674530"/>
                    <a:pt x="3490209" y="682890"/>
                  </a:cubicBezTo>
                  <a:cubicBezTo>
                    <a:pt x="3501415" y="692921"/>
                    <a:pt x="3512621" y="704625"/>
                    <a:pt x="3523827" y="712984"/>
                  </a:cubicBezTo>
                  <a:cubicBezTo>
                    <a:pt x="3516123" y="713298"/>
                    <a:pt x="3500214" y="704207"/>
                    <a:pt x="3501415" y="712984"/>
                  </a:cubicBezTo>
                  <a:cubicBezTo>
                    <a:pt x="3501415" y="718000"/>
                    <a:pt x="3520625" y="733047"/>
                    <a:pt x="3525428" y="744751"/>
                  </a:cubicBezTo>
                  <a:cubicBezTo>
                    <a:pt x="3530230" y="756454"/>
                    <a:pt x="3527029" y="773174"/>
                    <a:pt x="3531831" y="784877"/>
                  </a:cubicBezTo>
                  <a:cubicBezTo>
                    <a:pt x="3535033" y="799924"/>
                    <a:pt x="3547840" y="806612"/>
                    <a:pt x="3552642" y="819987"/>
                  </a:cubicBezTo>
                  <a:cubicBezTo>
                    <a:pt x="3559045" y="833363"/>
                    <a:pt x="3567050" y="853426"/>
                    <a:pt x="3573453" y="865129"/>
                  </a:cubicBezTo>
                  <a:cubicBezTo>
                    <a:pt x="3584659" y="871817"/>
                    <a:pt x="3595865" y="890208"/>
                    <a:pt x="3595865" y="890208"/>
                  </a:cubicBezTo>
                  <a:cubicBezTo>
                    <a:pt x="3603869" y="905256"/>
                    <a:pt x="3626280" y="942038"/>
                    <a:pt x="3634285" y="958757"/>
                  </a:cubicBezTo>
                  <a:cubicBezTo>
                    <a:pt x="3643890" y="973805"/>
                    <a:pt x="3651894" y="972133"/>
                    <a:pt x="3653495" y="980492"/>
                  </a:cubicBezTo>
                  <a:cubicBezTo>
                    <a:pt x="3656696" y="988852"/>
                    <a:pt x="3639087" y="988852"/>
                    <a:pt x="3645491" y="1005571"/>
                  </a:cubicBezTo>
                  <a:cubicBezTo>
                    <a:pt x="3645491" y="1015603"/>
                    <a:pt x="3651894" y="1030650"/>
                    <a:pt x="3655096" y="1040682"/>
                  </a:cubicBezTo>
                  <a:cubicBezTo>
                    <a:pt x="3658297" y="1050713"/>
                    <a:pt x="3663100" y="1059073"/>
                    <a:pt x="3669503" y="1064088"/>
                  </a:cubicBezTo>
                  <a:cubicBezTo>
                    <a:pt x="3675906" y="1069104"/>
                    <a:pt x="3691915" y="1060745"/>
                    <a:pt x="3696717" y="1065760"/>
                  </a:cubicBezTo>
                  <a:cubicBezTo>
                    <a:pt x="3703121" y="1069104"/>
                    <a:pt x="3698318" y="1082480"/>
                    <a:pt x="3703121" y="1090839"/>
                  </a:cubicBezTo>
                  <a:cubicBezTo>
                    <a:pt x="3707923" y="1094183"/>
                    <a:pt x="3715927" y="1087495"/>
                    <a:pt x="3722331" y="1090839"/>
                  </a:cubicBezTo>
                  <a:cubicBezTo>
                    <a:pt x="3727133" y="1095855"/>
                    <a:pt x="3735137" y="1104215"/>
                    <a:pt x="3736738" y="1114246"/>
                  </a:cubicBezTo>
                  <a:cubicBezTo>
                    <a:pt x="3739940" y="1124278"/>
                    <a:pt x="3743142" y="1139325"/>
                    <a:pt x="3746343" y="1151029"/>
                  </a:cubicBezTo>
                  <a:cubicBezTo>
                    <a:pt x="3747944" y="1166076"/>
                    <a:pt x="3752747" y="1167748"/>
                    <a:pt x="3759150" y="1181123"/>
                  </a:cubicBezTo>
                  <a:cubicBezTo>
                    <a:pt x="3762352" y="1187811"/>
                    <a:pt x="3759150" y="1199514"/>
                    <a:pt x="3762352" y="1206202"/>
                  </a:cubicBezTo>
                  <a:cubicBezTo>
                    <a:pt x="3763952" y="1216234"/>
                    <a:pt x="3763952" y="1224593"/>
                    <a:pt x="3765553" y="1246328"/>
                  </a:cubicBezTo>
                  <a:cubicBezTo>
                    <a:pt x="3767154" y="1261376"/>
                    <a:pt x="3771957" y="1279767"/>
                    <a:pt x="3775158" y="1294814"/>
                  </a:cubicBezTo>
                  <a:cubicBezTo>
                    <a:pt x="3778360" y="1309862"/>
                    <a:pt x="3776759" y="1326581"/>
                    <a:pt x="3784763" y="1339956"/>
                  </a:cubicBezTo>
                  <a:cubicBezTo>
                    <a:pt x="3786364" y="1358347"/>
                    <a:pt x="3819982" y="1373395"/>
                    <a:pt x="3819982" y="1373395"/>
                  </a:cubicBezTo>
                  <a:cubicBezTo>
                    <a:pt x="3827986" y="1383426"/>
                    <a:pt x="3839192" y="1386770"/>
                    <a:pt x="3847196" y="1395130"/>
                  </a:cubicBezTo>
                  <a:cubicBezTo>
                    <a:pt x="3855200" y="1403489"/>
                    <a:pt x="3858402" y="1413521"/>
                    <a:pt x="3864805" y="1420209"/>
                  </a:cubicBezTo>
                  <a:cubicBezTo>
                    <a:pt x="3871208" y="1425224"/>
                    <a:pt x="3884015" y="1433584"/>
                    <a:pt x="3884015" y="1433584"/>
                  </a:cubicBezTo>
                  <a:cubicBezTo>
                    <a:pt x="3888818" y="1441944"/>
                    <a:pt x="3892019" y="1450303"/>
                    <a:pt x="3898423" y="1470366"/>
                  </a:cubicBezTo>
                  <a:cubicBezTo>
                    <a:pt x="3901624" y="1483742"/>
                    <a:pt x="3903225" y="1502133"/>
                    <a:pt x="3908028" y="1515508"/>
                  </a:cubicBezTo>
                  <a:cubicBezTo>
                    <a:pt x="3912830" y="1528884"/>
                    <a:pt x="3917633" y="1542259"/>
                    <a:pt x="3922435" y="1553963"/>
                  </a:cubicBezTo>
                  <a:cubicBezTo>
                    <a:pt x="3927238" y="1565666"/>
                    <a:pt x="3922435" y="1572354"/>
                    <a:pt x="3938444" y="1587401"/>
                  </a:cubicBezTo>
                  <a:cubicBezTo>
                    <a:pt x="3944847" y="1594089"/>
                    <a:pt x="3954452" y="1592417"/>
                    <a:pt x="3957654" y="1597433"/>
                  </a:cubicBezTo>
                  <a:cubicBezTo>
                    <a:pt x="3960855" y="1602449"/>
                    <a:pt x="3952851" y="1617496"/>
                    <a:pt x="3957654" y="1620840"/>
                  </a:cubicBezTo>
                  <a:cubicBezTo>
                    <a:pt x="3962456" y="1624184"/>
                    <a:pt x="3975263" y="1614152"/>
                    <a:pt x="3981666" y="1617496"/>
                  </a:cubicBezTo>
                  <a:cubicBezTo>
                    <a:pt x="3988069" y="1620840"/>
                    <a:pt x="3988069" y="1632543"/>
                    <a:pt x="3994473" y="1635887"/>
                  </a:cubicBezTo>
                  <a:cubicBezTo>
                    <a:pt x="4000876" y="1639231"/>
                    <a:pt x="4010481" y="1637559"/>
                    <a:pt x="4018485" y="1640903"/>
                  </a:cubicBezTo>
                  <a:cubicBezTo>
                    <a:pt x="4026489" y="1645919"/>
                    <a:pt x="4037695" y="1642575"/>
                    <a:pt x="4042498" y="1652606"/>
                  </a:cubicBezTo>
                  <a:cubicBezTo>
                    <a:pt x="4053704" y="1660966"/>
                    <a:pt x="4072914" y="1677685"/>
                    <a:pt x="4080918" y="1687717"/>
                  </a:cubicBezTo>
                  <a:cubicBezTo>
                    <a:pt x="4090523" y="1696076"/>
                    <a:pt x="4087321" y="1707780"/>
                    <a:pt x="4095325" y="1716139"/>
                  </a:cubicBezTo>
                  <a:cubicBezTo>
                    <a:pt x="4101729" y="1721155"/>
                    <a:pt x="4114535" y="1714468"/>
                    <a:pt x="4119338" y="1717811"/>
                  </a:cubicBezTo>
                  <a:cubicBezTo>
                    <a:pt x="4124140" y="1721155"/>
                    <a:pt x="4122540" y="1726171"/>
                    <a:pt x="4127342" y="1734531"/>
                  </a:cubicBezTo>
                  <a:cubicBezTo>
                    <a:pt x="4132145" y="1741218"/>
                    <a:pt x="4138548" y="1761281"/>
                    <a:pt x="4144951" y="1766297"/>
                  </a:cubicBezTo>
                  <a:cubicBezTo>
                    <a:pt x="4149754" y="1771313"/>
                    <a:pt x="4167363" y="1772985"/>
                    <a:pt x="4172166" y="1778001"/>
                  </a:cubicBezTo>
                  <a:cubicBezTo>
                    <a:pt x="4180170" y="1783016"/>
                    <a:pt x="4180170" y="1778001"/>
                    <a:pt x="4186573" y="1783016"/>
                  </a:cubicBezTo>
                  <a:cubicBezTo>
                    <a:pt x="4191376" y="1788032"/>
                    <a:pt x="4196178" y="1801408"/>
                    <a:pt x="4200981" y="1808095"/>
                  </a:cubicBezTo>
                  <a:cubicBezTo>
                    <a:pt x="4202582" y="1814783"/>
                    <a:pt x="4220191" y="1823143"/>
                    <a:pt x="4216989" y="1828158"/>
                  </a:cubicBezTo>
                  <a:cubicBezTo>
                    <a:pt x="4216989" y="1833174"/>
                    <a:pt x="4221792" y="1851565"/>
                    <a:pt x="4215388" y="1856581"/>
                  </a:cubicBezTo>
                  <a:cubicBezTo>
                    <a:pt x="4208985" y="1863269"/>
                    <a:pt x="4188174" y="1864941"/>
                    <a:pt x="4178569" y="1868285"/>
                  </a:cubicBezTo>
                  <a:cubicBezTo>
                    <a:pt x="4172166" y="1871629"/>
                    <a:pt x="4156157" y="1876644"/>
                    <a:pt x="4159359" y="1881660"/>
                  </a:cubicBezTo>
                  <a:cubicBezTo>
                    <a:pt x="4165762" y="1885004"/>
                    <a:pt x="4212187" y="1886676"/>
                    <a:pt x="4221792" y="1891692"/>
                  </a:cubicBezTo>
                  <a:cubicBezTo>
                    <a:pt x="4231397" y="1898379"/>
                    <a:pt x="4207384" y="1903395"/>
                    <a:pt x="4221792" y="1916770"/>
                  </a:cubicBezTo>
                  <a:cubicBezTo>
                    <a:pt x="4228195" y="1926802"/>
                    <a:pt x="4249006" y="1941849"/>
                    <a:pt x="4263413" y="1951881"/>
                  </a:cubicBezTo>
                  <a:cubicBezTo>
                    <a:pt x="4277821" y="1961912"/>
                    <a:pt x="4295430" y="1970272"/>
                    <a:pt x="4308237" y="1971944"/>
                  </a:cubicBezTo>
                  <a:cubicBezTo>
                    <a:pt x="4322644" y="1973616"/>
                    <a:pt x="4316241" y="1963584"/>
                    <a:pt x="4340253" y="1958569"/>
                  </a:cubicBezTo>
                  <a:cubicBezTo>
                    <a:pt x="4349858" y="1955225"/>
                    <a:pt x="4356262" y="1950209"/>
                    <a:pt x="4364266" y="1946865"/>
                  </a:cubicBezTo>
                  <a:cubicBezTo>
                    <a:pt x="4372270" y="1943521"/>
                    <a:pt x="4375472" y="1941849"/>
                    <a:pt x="4389879" y="1941849"/>
                  </a:cubicBezTo>
                  <a:cubicBezTo>
                    <a:pt x="4404287" y="1941849"/>
                    <a:pt x="4433102" y="1943521"/>
                    <a:pt x="4447509" y="1941849"/>
                  </a:cubicBezTo>
                  <a:cubicBezTo>
                    <a:pt x="4463518" y="1938506"/>
                    <a:pt x="4450711" y="1931818"/>
                    <a:pt x="4476325" y="1926802"/>
                  </a:cubicBezTo>
                  <a:cubicBezTo>
                    <a:pt x="4485930" y="1921786"/>
                    <a:pt x="4493934" y="1915099"/>
                    <a:pt x="4505140" y="1913427"/>
                  </a:cubicBezTo>
                  <a:cubicBezTo>
                    <a:pt x="4516345" y="1911755"/>
                    <a:pt x="4532354" y="1918442"/>
                    <a:pt x="4541959" y="1916770"/>
                  </a:cubicBezTo>
                  <a:cubicBezTo>
                    <a:pt x="4551564" y="1915099"/>
                    <a:pt x="4556366" y="1910083"/>
                    <a:pt x="4565971" y="1908411"/>
                  </a:cubicBezTo>
                  <a:cubicBezTo>
                    <a:pt x="4575576" y="1906739"/>
                    <a:pt x="4594786" y="1903395"/>
                    <a:pt x="4601190" y="1903395"/>
                  </a:cubicBezTo>
                  <a:cubicBezTo>
                    <a:pt x="4603791" y="1905903"/>
                    <a:pt x="4598388" y="1910919"/>
                    <a:pt x="4609194" y="1908411"/>
                  </a:cubicBezTo>
                  <a:cubicBezTo>
                    <a:pt x="4615597" y="1906739"/>
                    <a:pt x="4630005" y="1900051"/>
                    <a:pt x="4642811" y="1896707"/>
                  </a:cubicBezTo>
                  <a:cubicBezTo>
                    <a:pt x="4655618" y="1893364"/>
                    <a:pt x="4671627" y="1895035"/>
                    <a:pt x="4684433" y="1888348"/>
                  </a:cubicBezTo>
                  <a:cubicBezTo>
                    <a:pt x="4697240" y="1885004"/>
                    <a:pt x="4708446" y="1859925"/>
                    <a:pt x="4719652" y="1861597"/>
                  </a:cubicBezTo>
                  <a:cubicBezTo>
                    <a:pt x="4730857" y="1856581"/>
                    <a:pt x="4748467" y="1858253"/>
                    <a:pt x="4754870" y="1861597"/>
                  </a:cubicBezTo>
                  <a:cubicBezTo>
                    <a:pt x="4761273" y="1864941"/>
                    <a:pt x="4758072" y="1871629"/>
                    <a:pt x="4758072" y="1878316"/>
                  </a:cubicBezTo>
                  <a:cubicBezTo>
                    <a:pt x="4758072" y="1885004"/>
                    <a:pt x="4753269" y="1891692"/>
                    <a:pt x="4753269" y="1901723"/>
                  </a:cubicBezTo>
                  <a:cubicBezTo>
                    <a:pt x="4753269" y="1913427"/>
                    <a:pt x="4754870" y="1926802"/>
                    <a:pt x="4754870" y="1936834"/>
                  </a:cubicBezTo>
                  <a:cubicBezTo>
                    <a:pt x="4754870" y="1946865"/>
                    <a:pt x="4754870" y="1956897"/>
                    <a:pt x="4753269" y="1963584"/>
                  </a:cubicBezTo>
                  <a:cubicBezTo>
                    <a:pt x="4751668" y="1970272"/>
                    <a:pt x="4746866" y="1966928"/>
                    <a:pt x="4743664" y="1978632"/>
                  </a:cubicBezTo>
                  <a:cubicBezTo>
                    <a:pt x="4740462" y="1990335"/>
                    <a:pt x="4740462" y="2020430"/>
                    <a:pt x="4735660" y="2033805"/>
                  </a:cubicBezTo>
                  <a:cubicBezTo>
                    <a:pt x="4730857" y="2047181"/>
                    <a:pt x="4721252" y="2050525"/>
                    <a:pt x="4716450" y="2058884"/>
                  </a:cubicBezTo>
                  <a:cubicBezTo>
                    <a:pt x="4711647" y="2067244"/>
                    <a:pt x="4711647" y="2075603"/>
                    <a:pt x="4706845" y="2087307"/>
                  </a:cubicBezTo>
                  <a:cubicBezTo>
                    <a:pt x="4702042" y="2099010"/>
                    <a:pt x="4692437" y="2115730"/>
                    <a:pt x="4687635" y="2127433"/>
                  </a:cubicBezTo>
                  <a:cubicBezTo>
                    <a:pt x="4682832" y="2139137"/>
                    <a:pt x="4681232" y="2142480"/>
                    <a:pt x="4673227" y="2157528"/>
                  </a:cubicBezTo>
                  <a:cubicBezTo>
                    <a:pt x="4658820" y="2179263"/>
                    <a:pt x="4657219" y="2190966"/>
                    <a:pt x="4642811" y="2212701"/>
                  </a:cubicBezTo>
                  <a:cubicBezTo>
                    <a:pt x="4636408" y="2229420"/>
                    <a:pt x="4623601" y="2241124"/>
                    <a:pt x="4620400" y="2252827"/>
                  </a:cubicBezTo>
                  <a:cubicBezTo>
                    <a:pt x="4617198" y="2264531"/>
                    <a:pt x="4622001" y="2272891"/>
                    <a:pt x="4620400" y="2279578"/>
                  </a:cubicBezTo>
                  <a:cubicBezTo>
                    <a:pt x="4618799" y="2287938"/>
                    <a:pt x="4612396" y="2289610"/>
                    <a:pt x="4607593" y="2296297"/>
                  </a:cubicBezTo>
                  <a:cubicBezTo>
                    <a:pt x="4602791" y="2302985"/>
                    <a:pt x="4605992" y="2302985"/>
                    <a:pt x="4594786" y="2323048"/>
                  </a:cubicBezTo>
                  <a:cubicBezTo>
                    <a:pt x="4586782" y="2334752"/>
                    <a:pt x="4572375" y="2349799"/>
                    <a:pt x="4562770" y="2364846"/>
                  </a:cubicBezTo>
                  <a:cubicBezTo>
                    <a:pt x="4553165" y="2379894"/>
                    <a:pt x="4548362" y="2401629"/>
                    <a:pt x="4537156" y="2416676"/>
                  </a:cubicBezTo>
                  <a:cubicBezTo>
                    <a:pt x="4527551" y="2431723"/>
                    <a:pt x="4508341" y="2440083"/>
                    <a:pt x="4498736" y="2455130"/>
                  </a:cubicBezTo>
                  <a:cubicBezTo>
                    <a:pt x="4484329" y="2478537"/>
                    <a:pt x="4482728" y="2483553"/>
                    <a:pt x="4457115" y="2500272"/>
                  </a:cubicBezTo>
                  <a:cubicBezTo>
                    <a:pt x="4426699" y="2547086"/>
                    <a:pt x="4477925" y="2503616"/>
                    <a:pt x="4421896" y="2537055"/>
                  </a:cubicBezTo>
                  <a:cubicBezTo>
                    <a:pt x="4409089" y="2545414"/>
                    <a:pt x="4402686" y="2562134"/>
                    <a:pt x="4389879" y="2570493"/>
                  </a:cubicBezTo>
                  <a:cubicBezTo>
                    <a:pt x="4380274" y="2580525"/>
                    <a:pt x="4383476" y="2567149"/>
                    <a:pt x="4361064" y="2580525"/>
                  </a:cubicBezTo>
                  <a:cubicBezTo>
                    <a:pt x="4353060" y="2585541"/>
                    <a:pt x="4345056" y="2592228"/>
                    <a:pt x="4337052" y="2598916"/>
                  </a:cubicBezTo>
                  <a:cubicBezTo>
                    <a:pt x="4329048" y="2605604"/>
                    <a:pt x="4325846" y="2610619"/>
                    <a:pt x="4313039" y="2618979"/>
                  </a:cubicBezTo>
                  <a:cubicBezTo>
                    <a:pt x="4300233" y="2627339"/>
                    <a:pt x="4273018" y="2639042"/>
                    <a:pt x="4260212" y="2649074"/>
                  </a:cubicBezTo>
                  <a:cubicBezTo>
                    <a:pt x="4249006" y="2660777"/>
                    <a:pt x="4253808" y="2665793"/>
                    <a:pt x="4239401" y="2679168"/>
                  </a:cubicBezTo>
                  <a:cubicBezTo>
                    <a:pt x="4229796" y="2690872"/>
                    <a:pt x="4213787" y="2704247"/>
                    <a:pt x="4202582" y="2714279"/>
                  </a:cubicBezTo>
                  <a:cubicBezTo>
                    <a:pt x="4191376" y="2724310"/>
                    <a:pt x="4180170" y="2729326"/>
                    <a:pt x="4172166" y="2741030"/>
                  </a:cubicBezTo>
                  <a:cubicBezTo>
                    <a:pt x="4162561" y="2749389"/>
                    <a:pt x="4156157" y="2776140"/>
                    <a:pt x="4149754" y="2784500"/>
                  </a:cubicBezTo>
                  <a:cubicBezTo>
                    <a:pt x="4143351" y="2792859"/>
                    <a:pt x="4133746" y="2786172"/>
                    <a:pt x="4128943" y="2789515"/>
                  </a:cubicBezTo>
                  <a:cubicBezTo>
                    <a:pt x="4124140" y="2792859"/>
                    <a:pt x="4125741" y="2802891"/>
                    <a:pt x="4124140" y="2809579"/>
                  </a:cubicBezTo>
                  <a:cubicBezTo>
                    <a:pt x="4122540" y="2816266"/>
                    <a:pt x="4122540" y="2819610"/>
                    <a:pt x="4116136" y="2829642"/>
                  </a:cubicBezTo>
                  <a:cubicBezTo>
                    <a:pt x="4109275" y="2840561"/>
                    <a:pt x="4105748" y="2846675"/>
                    <a:pt x="4104187" y="2849912"/>
                  </a:cubicBezTo>
                  <a:cubicBezTo>
                    <a:pt x="4101729" y="2850541"/>
                    <a:pt x="4096526" y="2855139"/>
                    <a:pt x="4085720" y="2866424"/>
                  </a:cubicBezTo>
                  <a:cubicBezTo>
                    <a:pt x="4077716" y="2876456"/>
                    <a:pt x="4068111" y="2871440"/>
                    <a:pt x="4061708" y="2879799"/>
                  </a:cubicBezTo>
                  <a:cubicBezTo>
                    <a:pt x="4055305" y="2888159"/>
                    <a:pt x="4055305" y="2904878"/>
                    <a:pt x="4047300" y="2911566"/>
                  </a:cubicBezTo>
                  <a:cubicBezTo>
                    <a:pt x="4040897" y="2918254"/>
                    <a:pt x="4024889" y="2914910"/>
                    <a:pt x="4018485" y="2919926"/>
                  </a:cubicBezTo>
                  <a:cubicBezTo>
                    <a:pt x="4012082" y="2924941"/>
                    <a:pt x="4007279" y="2933301"/>
                    <a:pt x="4004078" y="2941661"/>
                  </a:cubicBezTo>
                  <a:cubicBezTo>
                    <a:pt x="3999275" y="2950020"/>
                    <a:pt x="4002477" y="2968411"/>
                    <a:pt x="3994473" y="2975099"/>
                  </a:cubicBezTo>
                  <a:cubicBezTo>
                    <a:pt x="3989670" y="2983459"/>
                    <a:pt x="3980065" y="2986803"/>
                    <a:pt x="3975263" y="2995162"/>
                  </a:cubicBezTo>
                  <a:cubicBezTo>
                    <a:pt x="3970460" y="3005194"/>
                    <a:pt x="3973662" y="2995162"/>
                    <a:pt x="3962456" y="3025257"/>
                  </a:cubicBezTo>
                  <a:cubicBezTo>
                    <a:pt x="3957654" y="3035288"/>
                    <a:pt x="3952851" y="3052008"/>
                    <a:pt x="3948049" y="3060367"/>
                  </a:cubicBezTo>
                  <a:cubicBezTo>
                    <a:pt x="3943246" y="3068727"/>
                    <a:pt x="3936843" y="3065383"/>
                    <a:pt x="3933641" y="3072071"/>
                  </a:cubicBezTo>
                  <a:cubicBezTo>
                    <a:pt x="3930439" y="3078759"/>
                    <a:pt x="3935242" y="3092134"/>
                    <a:pt x="3932040" y="3102165"/>
                  </a:cubicBezTo>
                  <a:cubicBezTo>
                    <a:pt x="3928838" y="3112197"/>
                    <a:pt x="3917633" y="3125572"/>
                    <a:pt x="3914431" y="3137276"/>
                  </a:cubicBezTo>
                  <a:cubicBezTo>
                    <a:pt x="3911229" y="3148979"/>
                    <a:pt x="3908028" y="3160683"/>
                    <a:pt x="3909628" y="3172386"/>
                  </a:cubicBezTo>
                  <a:cubicBezTo>
                    <a:pt x="3909628" y="3185762"/>
                    <a:pt x="3919233" y="3200809"/>
                    <a:pt x="3924036" y="3212513"/>
                  </a:cubicBezTo>
                  <a:cubicBezTo>
                    <a:pt x="3928838" y="3224216"/>
                    <a:pt x="3938444" y="3234248"/>
                    <a:pt x="3941645" y="3240935"/>
                  </a:cubicBezTo>
                  <a:cubicBezTo>
                    <a:pt x="3942046" y="3236024"/>
                    <a:pt x="3939644" y="3221290"/>
                    <a:pt x="3948049" y="3252639"/>
                  </a:cubicBezTo>
                  <a:cubicBezTo>
                    <a:pt x="3948049" y="3259326"/>
                    <a:pt x="3941645" y="3274374"/>
                    <a:pt x="3941645" y="3286077"/>
                  </a:cubicBezTo>
                  <a:cubicBezTo>
                    <a:pt x="3941645" y="3297781"/>
                    <a:pt x="3943246" y="3311156"/>
                    <a:pt x="3943246" y="3322860"/>
                  </a:cubicBezTo>
                  <a:cubicBezTo>
                    <a:pt x="3943246" y="3334563"/>
                    <a:pt x="3940044" y="3347938"/>
                    <a:pt x="3941645" y="3357970"/>
                  </a:cubicBezTo>
                  <a:cubicBezTo>
                    <a:pt x="3943246" y="3368002"/>
                    <a:pt x="3949649" y="3378033"/>
                    <a:pt x="3952851" y="3388065"/>
                  </a:cubicBezTo>
                  <a:cubicBezTo>
                    <a:pt x="3956053" y="3398096"/>
                    <a:pt x="3956053" y="3409800"/>
                    <a:pt x="3957654" y="3421503"/>
                  </a:cubicBezTo>
                  <a:cubicBezTo>
                    <a:pt x="3959254" y="3433207"/>
                    <a:pt x="3962456" y="3453270"/>
                    <a:pt x="3967259" y="3463301"/>
                  </a:cubicBezTo>
                  <a:cubicBezTo>
                    <a:pt x="3972061" y="3473333"/>
                    <a:pt x="3981666" y="3478349"/>
                    <a:pt x="3989670" y="3483364"/>
                  </a:cubicBezTo>
                  <a:cubicBezTo>
                    <a:pt x="3997674" y="3488380"/>
                    <a:pt x="4007279" y="3483364"/>
                    <a:pt x="4012082" y="3493396"/>
                  </a:cubicBezTo>
                  <a:cubicBezTo>
                    <a:pt x="4024889" y="3535194"/>
                    <a:pt x="4026489" y="3480021"/>
                    <a:pt x="4023288" y="3543554"/>
                  </a:cubicBezTo>
                  <a:cubicBezTo>
                    <a:pt x="4024889" y="3560273"/>
                    <a:pt x="4015284" y="3538538"/>
                    <a:pt x="4010481" y="3592040"/>
                  </a:cubicBezTo>
                  <a:cubicBezTo>
                    <a:pt x="4008880" y="3608759"/>
                    <a:pt x="4015284" y="3625478"/>
                    <a:pt x="4015284" y="3643869"/>
                  </a:cubicBezTo>
                  <a:cubicBezTo>
                    <a:pt x="4015284" y="3662260"/>
                    <a:pt x="4015284" y="3680652"/>
                    <a:pt x="4015284" y="3699043"/>
                  </a:cubicBezTo>
                  <a:cubicBezTo>
                    <a:pt x="4015284" y="3717434"/>
                    <a:pt x="4013683" y="3735825"/>
                    <a:pt x="4015284" y="3752544"/>
                  </a:cubicBezTo>
                  <a:cubicBezTo>
                    <a:pt x="4016884" y="3769264"/>
                    <a:pt x="4028090" y="3785983"/>
                    <a:pt x="4028090" y="3797686"/>
                  </a:cubicBezTo>
                  <a:cubicBezTo>
                    <a:pt x="4028090" y="3809390"/>
                    <a:pt x="4021687" y="3817749"/>
                    <a:pt x="4018485" y="3827781"/>
                  </a:cubicBezTo>
                  <a:cubicBezTo>
                    <a:pt x="4015284" y="3837813"/>
                    <a:pt x="4015284" y="3854532"/>
                    <a:pt x="4010481" y="3862891"/>
                  </a:cubicBezTo>
                  <a:cubicBezTo>
                    <a:pt x="4005679" y="3871251"/>
                    <a:pt x="3996074" y="3869579"/>
                    <a:pt x="3989670" y="3877939"/>
                  </a:cubicBezTo>
                  <a:cubicBezTo>
                    <a:pt x="3984868" y="3887970"/>
                    <a:pt x="3984868" y="3894658"/>
                    <a:pt x="3970460" y="3909705"/>
                  </a:cubicBezTo>
                  <a:cubicBezTo>
                    <a:pt x="3964057" y="3919737"/>
                    <a:pt x="3964057" y="3928097"/>
                    <a:pt x="3952851" y="3938128"/>
                  </a:cubicBezTo>
                  <a:cubicBezTo>
                    <a:pt x="3941645" y="3948160"/>
                    <a:pt x="3917633" y="3959863"/>
                    <a:pt x="3903225" y="3968223"/>
                  </a:cubicBezTo>
                  <a:cubicBezTo>
                    <a:pt x="3888818" y="3976582"/>
                    <a:pt x="3880813" y="3979926"/>
                    <a:pt x="3866406" y="3984942"/>
                  </a:cubicBezTo>
                  <a:cubicBezTo>
                    <a:pt x="3855200" y="3988286"/>
                    <a:pt x="3848797" y="3983270"/>
                    <a:pt x="3837591" y="3988286"/>
                  </a:cubicBezTo>
                  <a:cubicBezTo>
                    <a:pt x="3826385" y="3993302"/>
                    <a:pt x="3808776" y="4011693"/>
                    <a:pt x="3794368" y="4020052"/>
                  </a:cubicBezTo>
                  <a:cubicBezTo>
                    <a:pt x="3779961" y="4030084"/>
                    <a:pt x="3768755" y="4033428"/>
                    <a:pt x="3754347" y="4048475"/>
                  </a:cubicBezTo>
                  <a:cubicBezTo>
                    <a:pt x="3738339" y="4073554"/>
                    <a:pt x="3725532" y="4090273"/>
                    <a:pt x="3703121" y="4110336"/>
                  </a:cubicBezTo>
                  <a:cubicBezTo>
                    <a:pt x="3691915" y="4120368"/>
                    <a:pt x="3683911" y="4130400"/>
                    <a:pt x="3669503" y="4135415"/>
                  </a:cubicBezTo>
                  <a:cubicBezTo>
                    <a:pt x="3656696" y="4140431"/>
                    <a:pt x="3639087" y="4165510"/>
                    <a:pt x="3639087" y="4165510"/>
                  </a:cubicBezTo>
                  <a:cubicBezTo>
                    <a:pt x="3629482" y="4173870"/>
                    <a:pt x="3607070" y="4170526"/>
                    <a:pt x="3602268" y="4178885"/>
                  </a:cubicBezTo>
                  <a:cubicBezTo>
                    <a:pt x="3594264" y="4187245"/>
                    <a:pt x="3592663" y="4203964"/>
                    <a:pt x="3592663" y="4213996"/>
                  </a:cubicBezTo>
                  <a:cubicBezTo>
                    <a:pt x="3591062" y="4220684"/>
                    <a:pt x="3602268" y="4239075"/>
                    <a:pt x="3602268" y="4239075"/>
                  </a:cubicBezTo>
                  <a:cubicBezTo>
                    <a:pt x="3603869" y="4247434"/>
                    <a:pt x="3610272" y="4240747"/>
                    <a:pt x="3615075" y="4255794"/>
                  </a:cubicBezTo>
                  <a:cubicBezTo>
                    <a:pt x="3616675" y="4264154"/>
                    <a:pt x="3613474" y="4279201"/>
                    <a:pt x="3616675" y="4290904"/>
                  </a:cubicBezTo>
                  <a:cubicBezTo>
                    <a:pt x="3619877" y="4302608"/>
                    <a:pt x="3629482" y="4314311"/>
                    <a:pt x="3634285" y="4329359"/>
                  </a:cubicBezTo>
                  <a:cubicBezTo>
                    <a:pt x="3639087" y="4347750"/>
                    <a:pt x="3645491" y="4354438"/>
                    <a:pt x="3643890" y="4386204"/>
                  </a:cubicBezTo>
                  <a:cubicBezTo>
                    <a:pt x="3645491" y="4402923"/>
                    <a:pt x="3647091" y="4417971"/>
                    <a:pt x="3645491" y="4429674"/>
                  </a:cubicBezTo>
                  <a:cubicBezTo>
                    <a:pt x="3643890" y="4441378"/>
                    <a:pt x="3635885" y="4448065"/>
                    <a:pt x="3634285" y="4456425"/>
                  </a:cubicBezTo>
                  <a:cubicBezTo>
                    <a:pt x="3632684" y="4464785"/>
                    <a:pt x="3635885" y="4474816"/>
                    <a:pt x="3634285" y="4484848"/>
                  </a:cubicBezTo>
                  <a:cubicBezTo>
                    <a:pt x="3632684" y="4494879"/>
                    <a:pt x="3634285" y="4506583"/>
                    <a:pt x="3627881" y="4516614"/>
                  </a:cubicBezTo>
                  <a:cubicBezTo>
                    <a:pt x="3618276" y="4526646"/>
                    <a:pt x="3607070" y="4531662"/>
                    <a:pt x="3595865" y="4541693"/>
                  </a:cubicBezTo>
                  <a:cubicBezTo>
                    <a:pt x="3583058" y="4553397"/>
                    <a:pt x="3576655" y="4545037"/>
                    <a:pt x="3562247" y="4555069"/>
                  </a:cubicBezTo>
                  <a:cubicBezTo>
                    <a:pt x="3551041" y="4560084"/>
                    <a:pt x="3533432" y="4566772"/>
                    <a:pt x="3519024" y="4575132"/>
                  </a:cubicBezTo>
                  <a:cubicBezTo>
                    <a:pt x="3506218" y="4580148"/>
                    <a:pt x="3496613" y="4576804"/>
                    <a:pt x="3485407" y="4581819"/>
                  </a:cubicBezTo>
                  <a:cubicBezTo>
                    <a:pt x="3472600" y="4586835"/>
                    <a:pt x="3451789" y="4610242"/>
                    <a:pt x="3451789" y="4610242"/>
                  </a:cubicBezTo>
                  <a:cubicBezTo>
                    <a:pt x="3446987" y="4616930"/>
                    <a:pt x="3434180" y="4628633"/>
                    <a:pt x="3434180" y="4636993"/>
                  </a:cubicBezTo>
                  <a:cubicBezTo>
                    <a:pt x="3434180" y="4650368"/>
                    <a:pt x="3446987" y="4655384"/>
                    <a:pt x="3446987" y="4655384"/>
                  </a:cubicBezTo>
                  <a:cubicBezTo>
                    <a:pt x="3448588" y="4662072"/>
                    <a:pt x="3469399" y="4608570"/>
                    <a:pt x="3462995" y="4631977"/>
                  </a:cubicBezTo>
                  <a:cubicBezTo>
                    <a:pt x="3464596" y="4633649"/>
                    <a:pt x="3461394" y="4647025"/>
                    <a:pt x="3458193" y="4662072"/>
                  </a:cubicBezTo>
                  <a:cubicBezTo>
                    <a:pt x="3454991" y="4677119"/>
                    <a:pt x="3451789" y="4700526"/>
                    <a:pt x="3448588" y="4717245"/>
                  </a:cubicBezTo>
                  <a:cubicBezTo>
                    <a:pt x="3445386" y="4733965"/>
                    <a:pt x="3442184" y="4747340"/>
                    <a:pt x="3437382" y="4760715"/>
                  </a:cubicBezTo>
                  <a:cubicBezTo>
                    <a:pt x="3432579" y="4774091"/>
                    <a:pt x="3430978" y="4784122"/>
                    <a:pt x="3422974" y="4797498"/>
                  </a:cubicBezTo>
                  <a:cubicBezTo>
                    <a:pt x="3418172" y="4817561"/>
                    <a:pt x="3402163" y="4834280"/>
                    <a:pt x="3386155" y="4845984"/>
                  </a:cubicBezTo>
                  <a:cubicBezTo>
                    <a:pt x="3371748" y="4856015"/>
                    <a:pt x="3362143" y="4866047"/>
                    <a:pt x="3346134" y="4871063"/>
                  </a:cubicBezTo>
                  <a:cubicBezTo>
                    <a:pt x="3334928" y="4882766"/>
                    <a:pt x="3325323" y="4894470"/>
                    <a:pt x="3317319" y="4911189"/>
                  </a:cubicBezTo>
                  <a:cubicBezTo>
                    <a:pt x="3307714" y="4926236"/>
                    <a:pt x="3298109" y="4951315"/>
                    <a:pt x="3290105" y="4966362"/>
                  </a:cubicBezTo>
                  <a:cubicBezTo>
                    <a:pt x="3280500" y="4979738"/>
                    <a:pt x="3275697" y="4998129"/>
                    <a:pt x="3264492" y="5006489"/>
                  </a:cubicBezTo>
                  <a:cubicBezTo>
                    <a:pt x="3254887" y="5016520"/>
                    <a:pt x="3240479" y="5016520"/>
                    <a:pt x="3227672" y="5028224"/>
                  </a:cubicBezTo>
                  <a:cubicBezTo>
                    <a:pt x="3213265" y="5049959"/>
                    <a:pt x="3206861" y="5054974"/>
                    <a:pt x="3192454" y="5076709"/>
                  </a:cubicBezTo>
                  <a:cubicBezTo>
                    <a:pt x="3181248" y="5093429"/>
                    <a:pt x="3173244" y="5091757"/>
                    <a:pt x="3155635" y="5103460"/>
                  </a:cubicBezTo>
                  <a:cubicBezTo>
                    <a:pt x="3144429" y="5113492"/>
                    <a:pt x="3134824" y="5123523"/>
                    <a:pt x="3122017" y="5133555"/>
                  </a:cubicBezTo>
                  <a:cubicBezTo>
                    <a:pt x="3109210" y="5143586"/>
                    <a:pt x="3094803" y="5155290"/>
                    <a:pt x="3081996" y="5163649"/>
                  </a:cubicBezTo>
                  <a:cubicBezTo>
                    <a:pt x="3069190" y="5166993"/>
                    <a:pt x="3061185" y="5178697"/>
                    <a:pt x="3048379" y="5183713"/>
                  </a:cubicBezTo>
                  <a:cubicBezTo>
                    <a:pt x="3041975" y="5185385"/>
                    <a:pt x="3014761" y="5192072"/>
                    <a:pt x="3014761" y="5192072"/>
                  </a:cubicBezTo>
                  <a:cubicBezTo>
                    <a:pt x="3001954" y="5197088"/>
                    <a:pt x="2989148" y="5203776"/>
                    <a:pt x="2977942" y="5207120"/>
                  </a:cubicBezTo>
                  <a:cubicBezTo>
                    <a:pt x="2969938" y="5208791"/>
                    <a:pt x="2966736" y="5198760"/>
                    <a:pt x="2961934" y="5198760"/>
                  </a:cubicBezTo>
                  <a:cubicBezTo>
                    <a:pt x="2957131" y="5198760"/>
                    <a:pt x="2955530" y="5207120"/>
                    <a:pt x="2949127" y="5212135"/>
                  </a:cubicBezTo>
                  <a:cubicBezTo>
                    <a:pt x="2942723" y="5215479"/>
                    <a:pt x="2933118" y="5218823"/>
                    <a:pt x="2920312" y="5223839"/>
                  </a:cubicBezTo>
                  <a:cubicBezTo>
                    <a:pt x="2913908" y="5223839"/>
                    <a:pt x="2913908" y="5212135"/>
                    <a:pt x="2909106" y="5212135"/>
                  </a:cubicBezTo>
                  <a:cubicBezTo>
                    <a:pt x="2904303" y="5212135"/>
                    <a:pt x="2901102" y="5222167"/>
                    <a:pt x="2894698" y="5227183"/>
                  </a:cubicBezTo>
                  <a:cubicBezTo>
                    <a:pt x="2888295" y="5232198"/>
                    <a:pt x="2880291" y="5238886"/>
                    <a:pt x="2872287" y="5238886"/>
                  </a:cubicBezTo>
                  <a:cubicBezTo>
                    <a:pt x="2864283" y="5240558"/>
                    <a:pt x="2861081" y="5225511"/>
                    <a:pt x="2846673" y="5223839"/>
                  </a:cubicBezTo>
                  <a:cubicBezTo>
                    <a:pt x="2832266" y="5222167"/>
                    <a:pt x="2808253" y="5228855"/>
                    <a:pt x="2785842" y="5228855"/>
                  </a:cubicBezTo>
                  <a:cubicBezTo>
                    <a:pt x="2763430" y="5228855"/>
                    <a:pt x="2731413" y="5220495"/>
                    <a:pt x="2713804" y="5223839"/>
                  </a:cubicBezTo>
                  <a:cubicBezTo>
                    <a:pt x="2696195" y="5227183"/>
                    <a:pt x="2697796" y="5247246"/>
                    <a:pt x="2680186" y="5252262"/>
                  </a:cubicBezTo>
                  <a:cubicBezTo>
                    <a:pt x="2662577" y="5257277"/>
                    <a:pt x="2624157" y="5250590"/>
                    <a:pt x="2608149" y="5252262"/>
                  </a:cubicBezTo>
                  <a:cubicBezTo>
                    <a:pt x="2592140" y="5253933"/>
                    <a:pt x="2592140" y="5253933"/>
                    <a:pt x="2584136" y="5258949"/>
                  </a:cubicBezTo>
                  <a:cubicBezTo>
                    <a:pt x="2576132" y="5272325"/>
                    <a:pt x="2574531" y="5280684"/>
                    <a:pt x="2555321" y="5279012"/>
                  </a:cubicBezTo>
                  <a:cubicBezTo>
                    <a:pt x="2542514" y="5277340"/>
                    <a:pt x="2524905" y="5273997"/>
                    <a:pt x="2524905" y="5273997"/>
                  </a:cubicBezTo>
                  <a:cubicBezTo>
                    <a:pt x="2515300" y="5268981"/>
                    <a:pt x="2526506" y="5260621"/>
                    <a:pt x="2516901" y="5253933"/>
                  </a:cubicBezTo>
                  <a:cubicBezTo>
                    <a:pt x="2512099" y="5250590"/>
                    <a:pt x="2497691" y="5257277"/>
                    <a:pt x="2492889" y="5252262"/>
                  </a:cubicBezTo>
                  <a:cubicBezTo>
                    <a:pt x="2488086" y="5247246"/>
                    <a:pt x="2492889" y="5227183"/>
                    <a:pt x="2488086" y="5223839"/>
                  </a:cubicBezTo>
                  <a:cubicBezTo>
                    <a:pt x="2483284" y="5220495"/>
                    <a:pt x="2467275" y="5228855"/>
                    <a:pt x="2462473" y="5232198"/>
                  </a:cubicBezTo>
                  <a:cubicBezTo>
                    <a:pt x="2454468" y="5228855"/>
                    <a:pt x="2467275" y="5258949"/>
                    <a:pt x="2459271" y="5248918"/>
                  </a:cubicBezTo>
                  <a:cubicBezTo>
                    <a:pt x="2457670" y="5247246"/>
                    <a:pt x="2452868" y="5227183"/>
                    <a:pt x="2452868" y="5218823"/>
                  </a:cubicBezTo>
                  <a:cubicBezTo>
                    <a:pt x="2452868" y="5210463"/>
                    <a:pt x="2465674" y="5208791"/>
                    <a:pt x="2462473" y="5198760"/>
                  </a:cubicBezTo>
                  <a:cubicBezTo>
                    <a:pt x="2459271" y="5188728"/>
                    <a:pt x="2433658" y="5168665"/>
                    <a:pt x="2428855" y="5158634"/>
                  </a:cubicBezTo>
                  <a:cubicBezTo>
                    <a:pt x="2425653" y="5146930"/>
                    <a:pt x="2425653" y="5141914"/>
                    <a:pt x="2428855" y="5133555"/>
                  </a:cubicBezTo>
                  <a:cubicBezTo>
                    <a:pt x="2433658" y="5126867"/>
                    <a:pt x="2449666" y="5130211"/>
                    <a:pt x="2452868" y="5118507"/>
                  </a:cubicBezTo>
                  <a:cubicBezTo>
                    <a:pt x="2454468" y="5108476"/>
                    <a:pt x="2457670" y="5081725"/>
                    <a:pt x="2449666" y="5058318"/>
                  </a:cubicBezTo>
                  <a:cubicBezTo>
                    <a:pt x="2443263" y="5039927"/>
                    <a:pt x="2422452" y="5024880"/>
                    <a:pt x="2414448" y="5011504"/>
                  </a:cubicBezTo>
                  <a:cubicBezTo>
                    <a:pt x="2406443" y="4998129"/>
                    <a:pt x="2401641" y="4986425"/>
                    <a:pt x="2396838" y="4976394"/>
                  </a:cubicBezTo>
                  <a:cubicBezTo>
                    <a:pt x="2392036" y="4963018"/>
                    <a:pt x="2388834" y="4958003"/>
                    <a:pt x="2385633" y="4947971"/>
                  </a:cubicBezTo>
                  <a:cubicBezTo>
                    <a:pt x="2382431" y="4937940"/>
                    <a:pt x="2376028" y="4929580"/>
                    <a:pt x="2372826" y="4917876"/>
                  </a:cubicBezTo>
                  <a:cubicBezTo>
                    <a:pt x="2368023" y="4906173"/>
                    <a:pt x="2368023" y="4891126"/>
                    <a:pt x="2363221" y="4881094"/>
                  </a:cubicBezTo>
                  <a:cubicBezTo>
                    <a:pt x="2358418" y="4869391"/>
                    <a:pt x="2353616" y="4861031"/>
                    <a:pt x="2342410" y="4845984"/>
                  </a:cubicBezTo>
                  <a:cubicBezTo>
                    <a:pt x="2331204" y="4829264"/>
                    <a:pt x="2303990" y="4804186"/>
                    <a:pt x="2291183" y="4787466"/>
                  </a:cubicBezTo>
                  <a:cubicBezTo>
                    <a:pt x="2278377" y="4770747"/>
                    <a:pt x="2271973" y="4760715"/>
                    <a:pt x="2263969" y="4743996"/>
                  </a:cubicBezTo>
                  <a:cubicBezTo>
                    <a:pt x="2257566" y="4723933"/>
                    <a:pt x="2251162" y="4703870"/>
                    <a:pt x="2244759" y="4683807"/>
                  </a:cubicBezTo>
                  <a:cubicBezTo>
                    <a:pt x="2243158" y="4677119"/>
                    <a:pt x="2238356" y="4663744"/>
                    <a:pt x="2238356" y="4663744"/>
                  </a:cubicBezTo>
                  <a:cubicBezTo>
                    <a:pt x="2236755" y="4653712"/>
                    <a:pt x="2233553" y="4655384"/>
                    <a:pt x="2227150" y="4625290"/>
                  </a:cubicBezTo>
                  <a:cubicBezTo>
                    <a:pt x="2223948" y="4605226"/>
                    <a:pt x="2225549" y="4565100"/>
                    <a:pt x="2222347" y="4546709"/>
                  </a:cubicBezTo>
                  <a:cubicBezTo>
                    <a:pt x="2219146" y="4528318"/>
                    <a:pt x="2212742" y="4524974"/>
                    <a:pt x="2209541" y="4514942"/>
                  </a:cubicBezTo>
                  <a:cubicBezTo>
                    <a:pt x="2206339" y="4504911"/>
                    <a:pt x="2201536" y="4494879"/>
                    <a:pt x="2199936" y="4483176"/>
                  </a:cubicBezTo>
                  <a:cubicBezTo>
                    <a:pt x="2196734" y="4471472"/>
                    <a:pt x="2209541" y="4476488"/>
                    <a:pt x="2203137" y="4444722"/>
                  </a:cubicBezTo>
                  <a:cubicBezTo>
                    <a:pt x="2203137" y="4434690"/>
                    <a:pt x="2196734" y="4428002"/>
                    <a:pt x="2198335" y="4419643"/>
                  </a:cubicBezTo>
                  <a:cubicBezTo>
                    <a:pt x="2199936" y="4411283"/>
                    <a:pt x="2212742" y="4404595"/>
                    <a:pt x="2207940" y="4391220"/>
                  </a:cubicBezTo>
                  <a:cubicBezTo>
                    <a:pt x="2203137" y="4377845"/>
                    <a:pt x="2182326" y="4351094"/>
                    <a:pt x="2174322" y="4336046"/>
                  </a:cubicBezTo>
                  <a:cubicBezTo>
                    <a:pt x="2166318" y="4320999"/>
                    <a:pt x="2163116" y="4310968"/>
                    <a:pt x="2155112" y="4295920"/>
                  </a:cubicBezTo>
                  <a:cubicBezTo>
                    <a:pt x="2147108" y="4279201"/>
                    <a:pt x="2132700" y="4260810"/>
                    <a:pt x="2126297" y="4244091"/>
                  </a:cubicBezTo>
                  <a:cubicBezTo>
                    <a:pt x="2118293" y="4227371"/>
                    <a:pt x="2108688" y="4213996"/>
                    <a:pt x="2102285" y="4198949"/>
                  </a:cubicBezTo>
                  <a:cubicBezTo>
                    <a:pt x="2097482" y="4183901"/>
                    <a:pt x="2095881" y="4170526"/>
                    <a:pt x="2091079" y="4155478"/>
                  </a:cubicBezTo>
                  <a:cubicBezTo>
                    <a:pt x="2086276" y="4140431"/>
                    <a:pt x="2078272" y="4130400"/>
                    <a:pt x="2070268" y="4118696"/>
                  </a:cubicBezTo>
                  <a:cubicBezTo>
                    <a:pt x="2062264" y="4106993"/>
                    <a:pt x="2054260" y="4101977"/>
                    <a:pt x="2046255" y="4088601"/>
                  </a:cubicBezTo>
                  <a:cubicBezTo>
                    <a:pt x="2036650" y="4071882"/>
                    <a:pt x="2020642" y="4071882"/>
                    <a:pt x="2017440" y="4035100"/>
                  </a:cubicBezTo>
                  <a:cubicBezTo>
                    <a:pt x="2012638" y="4016709"/>
                    <a:pt x="2014239" y="3994974"/>
                    <a:pt x="2015839" y="3979926"/>
                  </a:cubicBezTo>
                  <a:cubicBezTo>
                    <a:pt x="2017440" y="3964879"/>
                    <a:pt x="2022243" y="3961535"/>
                    <a:pt x="2022243" y="3948160"/>
                  </a:cubicBezTo>
                  <a:cubicBezTo>
                    <a:pt x="2022243" y="3934784"/>
                    <a:pt x="2017440" y="3908033"/>
                    <a:pt x="2020642" y="3894658"/>
                  </a:cubicBezTo>
                  <a:cubicBezTo>
                    <a:pt x="2023844" y="3881283"/>
                    <a:pt x="2039852" y="3877939"/>
                    <a:pt x="2044655" y="3867907"/>
                  </a:cubicBezTo>
                  <a:cubicBezTo>
                    <a:pt x="2047856" y="3857876"/>
                    <a:pt x="2046255" y="3841156"/>
                    <a:pt x="2046255" y="3829453"/>
                  </a:cubicBezTo>
                  <a:cubicBezTo>
                    <a:pt x="2047856" y="3816078"/>
                    <a:pt x="2054260" y="3799358"/>
                    <a:pt x="2055860" y="3787655"/>
                  </a:cubicBezTo>
                  <a:cubicBezTo>
                    <a:pt x="2059062" y="3774279"/>
                    <a:pt x="2059062" y="3754216"/>
                    <a:pt x="2059062" y="3754216"/>
                  </a:cubicBezTo>
                  <a:cubicBezTo>
                    <a:pt x="2060863" y="3748887"/>
                    <a:pt x="2062664" y="3755470"/>
                    <a:pt x="2073470" y="3744185"/>
                  </a:cubicBezTo>
                  <a:cubicBezTo>
                    <a:pt x="2076671" y="3735825"/>
                    <a:pt x="2076671" y="3710746"/>
                    <a:pt x="2083075" y="3702387"/>
                  </a:cubicBezTo>
                  <a:cubicBezTo>
                    <a:pt x="2089478" y="3694027"/>
                    <a:pt x="2105486" y="3697371"/>
                    <a:pt x="2111890" y="3689011"/>
                  </a:cubicBezTo>
                  <a:cubicBezTo>
                    <a:pt x="2118293" y="3680652"/>
                    <a:pt x="2111890" y="3660589"/>
                    <a:pt x="2118293" y="3652229"/>
                  </a:cubicBezTo>
                  <a:cubicBezTo>
                    <a:pt x="2124696" y="3643869"/>
                    <a:pt x="2143906" y="3650557"/>
                    <a:pt x="2150310" y="3637182"/>
                  </a:cubicBezTo>
                  <a:cubicBezTo>
                    <a:pt x="2156713" y="3627150"/>
                    <a:pt x="2166318" y="3605415"/>
                    <a:pt x="2159915" y="3566961"/>
                  </a:cubicBezTo>
                  <a:cubicBezTo>
                    <a:pt x="2161515" y="3550241"/>
                    <a:pt x="2166318" y="3543554"/>
                    <a:pt x="2164717" y="3531850"/>
                  </a:cubicBezTo>
                  <a:cubicBezTo>
                    <a:pt x="2163116" y="3520147"/>
                    <a:pt x="2151910" y="3510115"/>
                    <a:pt x="2145507" y="3498412"/>
                  </a:cubicBezTo>
                  <a:cubicBezTo>
                    <a:pt x="2139104" y="3486708"/>
                    <a:pt x="2134301" y="3476677"/>
                    <a:pt x="2127898" y="3461629"/>
                  </a:cubicBezTo>
                  <a:cubicBezTo>
                    <a:pt x="2121495" y="3446582"/>
                    <a:pt x="2111890" y="3418159"/>
                    <a:pt x="2110289" y="3406456"/>
                  </a:cubicBezTo>
                  <a:cubicBezTo>
                    <a:pt x="2113190" y="3402381"/>
                    <a:pt x="2118293" y="3412726"/>
                    <a:pt x="2113490" y="3386393"/>
                  </a:cubicBezTo>
                  <a:cubicBezTo>
                    <a:pt x="2116692" y="3379705"/>
                    <a:pt x="2123095" y="3374689"/>
                    <a:pt x="2126297" y="3368002"/>
                  </a:cubicBezTo>
                  <a:cubicBezTo>
                    <a:pt x="2129499" y="3361314"/>
                    <a:pt x="2139104" y="3361314"/>
                    <a:pt x="2135902" y="3346267"/>
                  </a:cubicBezTo>
                  <a:cubicBezTo>
                    <a:pt x="2132700" y="3331219"/>
                    <a:pt x="2110289" y="3297781"/>
                    <a:pt x="2103885" y="3281061"/>
                  </a:cubicBezTo>
                  <a:cubicBezTo>
                    <a:pt x="2097482" y="3264342"/>
                    <a:pt x="2100684" y="3255983"/>
                    <a:pt x="2094280" y="3240935"/>
                  </a:cubicBezTo>
                  <a:cubicBezTo>
                    <a:pt x="2087877" y="3225888"/>
                    <a:pt x="2076671" y="3219200"/>
                    <a:pt x="2065465" y="3192449"/>
                  </a:cubicBezTo>
                  <a:cubicBezTo>
                    <a:pt x="2054260" y="3152323"/>
                    <a:pt x="2060663" y="3102165"/>
                    <a:pt x="2027045" y="3078759"/>
                  </a:cubicBezTo>
                  <a:cubicBezTo>
                    <a:pt x="2017440" y="3055352"/>
                    <a:pt x="2014239" y="3052008"/>
                    <a:pt x="2003033" y="3040304"/>
                  </a:cubicBezTo>
                  <a:cubicBezTo>
                    <a:pt x="1995029" y="3030273"/>
                    <a:pt x="1985424" y="3031945"/>
                    <a:pt x="1974218" y="3021913"/>
                  </a:cubicBezTo>
                  <a:cubicBezTo>
                    <a:pt x="1961411" y="2983459"/>
                    <a:pt x="1967814" y="3005194"/>
                    <a:pt x="1938999" y="2975099"/>
                  </a:cubicBezTo>
                  <a:cubicBezTo>
                    <a:pt x="1929394" y="2965068"/>
                    <a:pt x="1910184" y="2941661"/>
                    <a:pt x="1900579" y="2931629"/>
                  </a:cubicBezTo>
                  <a:cubicBezTo>
                    <a:pt x="1878168" y="2908222"/>
                    <a:pt x="1890974" y="2903206"/>
                    <a:pt x="1866962" y="2894847"/>
                  </a:cubicBezTo>
                  <a:cubicBezTo>
                    <a:pt x="1857357" y="2881471"/>
                    <a:pt x="1854155" y="2861408"/>
                    <a:pt x="1847752" y="2849705"/>
                  </a:cubicBezTo>
                  <a:cubicBezTo>
                    <a:pt x="1841348" y="2838001"/>
                    <a:pt x="1833344" y="2831314"/>
                    <a:pt x="1828542" y="2824626"/>
                  </a:cubicBezTo>
                  <a:cubicBezTo>
                    <a:pt x="1826941" y="2817938"/>
                    <a:pt x="1822138" y="2804563"/>
                    <a:pt x="1822138" y="2804563"/>
                  </a:cubicBezTo>
                  <a:cubicBezTo>
                    <a:pt x="1822138" y="2796203"/>
                    <a:pt x="1809332" y="2789515"/>
                    <a:pt x="1814134" y="2781156"/>
                  </a:cubicBezTo>
                  <a:cubicBezTo>
                    <a:pt x="1817336" y="2777812"/>
                    <a:pt x="1831743" y="2786172"/>
                    <a:pt x="1838147" y="2781156"/>
                  </a:cubicBezTo>
                  <a:cubicBezTo>
                    <a:pt x="1844550" y="2776140"/>
                    <a:pt x="1850953" y="2761093"/>
                    <a:pt x="1854155" y="2751061"/>
                  </a:cubicBezTo>
                  <a:cubicBezTo>
                    <a:pt x="1858958" y="2739358"/>
                    <a:pt x="1858958" y="2730998"/>
                    <a:pt x="1862159" y="2719295"/>
                  </a:cubicBezTo>
                  <a:cubicBezTo>
                    <a:pt x="1862159" y="2709263"/>
                    <a:pt x="1854155" y="2702575"/>
                    <a:pt x="1854155" y="2694216"/>
                  </a:cubicBezTo>
                  <a:cubicBezTo>
                    <a:pt x="1852554" y="2687528"/>
                    <a:pt x="1862159" y="2679168"/>
                    <a:pt x="1866962" y="2664121"/>
                  </a:cubicBezTo>
                  <a:cubicBezTo>
                    <a:pt x="1866962" y="2655761"/>
                    <a:pt x="1857357" y="2649074"/>
                    <a:pt x="1858958" y="2639042"/>
                  </a:cubicBezTo>
                  <a:cubicBezTo>
                    <a:pt x="1860558" y="2629011"/>
                    <a:pt x="1874966" y="2615635"/>
                    <a:pt x="1879768" y="2603932"/>
                  </a:cubicBezTo>
                  <a:cubicBezTo>
                    <a:pt x="1886172" y="2588884"/>
                    <a:pt x="1890974" y="2590556"/>
                    <a:pt x="1886172" y="2565477"/>
                  </a:cubicBezTo>
                  <a:cubicBezTo>
                    <a:pt x="1887773" y="2550430"/>
                    <a:pt x="1889373" y="2525351"/>
                    <a:pt x="1887773" y="2510304"/>
                  </a:cubicBezTo>
                  <a:cubicBezTo>
                    <a:pt x="1886172" y="2495257"/>
                    <a:pt x="1878168" y="2483553"/>
                    <a:pt x="1876567" y="2473522"/>
                  </a:cubicBezTo>
                  <a:cubicBezTo>
                    <a:pt x="1874966" y="2463490"/>
                    <a:pt x="1878168" y="2448443"/>
                    <a:pt x="1873365" y="2445099"/>
                  </a:cubicBezTo>
                  <a:cubicBezTo>
                    <a:pt x="1868563" y="2441755"/>
                    <a:pt x="1855756" y="2455130"/>
                    <a:pt x="1847752" y="2450115"/>
                  </a:cubicBezTo>
                  <a:cubicBezTo>
                    <a:pt x="1839747" y="2436739"/>
                    <a:pt x="1830142" y="2423364"/>
                    <a:pt x="1822138" y="2409988"/>
                  </a:cubicBezTo>
                  <a:cubicBezTo>
                    <a:pt x="1817336" y="2403301"/>
                    <a:pt x="1809332" y="2389925"/>
                    <a:pt x="1809332" y="2389925"/>
                  </a:cubicBezTo>
                  <a:cubicBezTo>
                    <a:pt x="1804529" y="2386581"/>
                    <a:pt x="1815735" y="2381566"/>
                    <a:pt x="1782117" y="2383238"/>
                  </a:cubicBezTo>
                  <a:cubicBezTo>
                    <a:pt x="1777315" y="2383238"/>
                    <a:pt x="1786920" y="2391597"/>
                    <a:pt x="1777315" y="2394941"/>
                  </a:cubicBezTo>
                  <a:cubicBezTo>
                    <a:pt x="1767710" y="2398285"/>
                    <a:pt x="1740496" y="2398285"/>
                    <a:pt x="1727689" y="2399957"/>
                  </a:cubicBezTo>
                  <a:cubicBezTo>
                    <a:pt x="1714882" y="2401629"/>
                    <a:pt x="1705277" y="2403301"/>
                    <a:pt x="1695672" y="2403301"/>
                  </a:cubicBezTo>
                  <a:cubicBezTo>
                    <a:pt x="1686067" y="2403301"/>
                    <a:pt x="1682866" y="2403301"/>
                    <a:pt x="1671660" y="2404973"/>
                  </a:cubicBezTo>
                  <a:cubicBezTo>
                    <a:pt x="1660454" y="2406645"/>
                    <a:pt x="1638042" y="2416676"/>
                    <a:pt x="1626836" y="2415004"/>
                  </a:cubicBezTo>
                  <a:cubicBezTo>
                    <a:pt x="1615630" y="2413332"/>
                    <a:pt x="1610828" y="2403301"/>
                    <a:pt x="1604425" y="2396613"/>
                  </a:cubicBezTo>
                  <a:cubicBezTo>
                    <a:pt x="1598021" y="2388253"/>
                    <a:pt x="1596420" y="2384910"/>
                    <a:pt x="1588416" y="2373206"/>
                  </a:cubicBezTo>
                  <a:cubicBezTo>
                    <a:pt x="1585215" y="2363174"/>
                    <a:pt x="1586815" y="2349799"/>
                    <a:pt x="1583614" y="2339768"/>
                  </a:cubicBezTo>
                  <a:cubicBezTo>
                    <a:pt x="1580412" y="2329736"/>
                    <a:pt x="1575610" y="2326392"/>
                    <a:pt x="1566005" y="2314689"/>
                  </a:cubicBezTo>
                  <a:cubicBezTo>
                    <a:pt x="1556400" y="2304657"/>
                    <a:pt x="1535589" y="2277906"/>
                    <a:pt x="1522782" y="2269547"/>
                  </a:cubicBezTo>
                  <a:cubicBezTo>
                    <a:pt x="1509975" y="2261187"/>
                    <a:pt x="1497169" y="2267875"/>
                    <a:pt x="1492366" y="2264531"/>
                  </a:cubicBezTo>
                  <a:cubicBezTo>
                    <a:pt x="1487564" y="2261187"/>
                    <a:pt x="1497169" y="2252827"/>
                    <a:pt x="1492366" y="2249484"/>
                  </a:cubicBezTo>
                  <a:cubicBezTo>
                    <a:pt x="1487564" y="2246140"/>
                    <a:pt x="1469954" y="2242796"/>
                    <a:pt x="1465152" y="2244468"/>
                  </a:cubicBezTo>
                  <a:cubicBezTo>
                    <a:pt x="1461534" y="2245727"/>
                    <a:pt x="1461550" y="2252679"/>
                    <a:pt x="1459768" y="2256567"/>
                  </a:cubicBezTo>
                  <a:cubicBezTo>
                    <a:pt x="1457472" y="2256084"/>
                    <a:pt x="1452847" y="2256440"/>
                    <a:pt x="1444341" y="2257843"/>
                  </a:cubicBezTo>
                  <a:cubicBezTo>
                    <a:pt x="1429933" y="2257843"/>
                    <a:pt x="1388312" y="2262859"/>
                    <a:pt x="1367501" y="2264531"/>
                  </a:cubicBezTo>
                  <a:cubicBezTo>
                    <a:pt x="1346690" y="2266203"/>
                    <a:pt x="1332282" y="2269547"/>
                    <a:pt x="1319476" y="2272891"/>
                  </a:cubicBezTo>
                  <a:cubicBezTo>
                    <a:pt x="1306669" y="2276234"/>
                    <a:pt x="1300266" y="2279578"/>
                    <a:pt x="1290661" y="2284594"/>
                  </a:cubicBezTo>
                  <a:cubicBezTo>
                    <a:pt x="1281056" y="2289610"/>
                    <a:pt x="1277854" y="2302985"/>
                    <a:pt x="1263447" y="2308001"/>
                  </a:cubicBezTo>
                  <a:cubicBezTo>
                    <a:pt x="1249039" y="2313017"/>
                    <a:pt x="1217022" y="2306329"/>
                    <a:pt x="1207417" y="2309673"/>
                  </a:cubicBezTo>
                  <a:cubicBezTo>
                    <a:pt x="1194611" y="2313017"/>
                    <a:pt x="1213821" y="2319704"/>
                    <a:pt x="1201014" y="2324720"/>
                  </a:cubicBezTo>
                  <a:cubicBezTo>
                    <a:pt x="1194611" y="2326392"/>
                    <a:pt x="1175401" y="2328064"/>
                    <a:pt x="1175401" y="2328064"/>
                  </a:cubicBezTo>
                  <a:cubicBezTo>
                    <a:pt x="1165796" y="2333080"/>
                    <a:pt x="1160993" y="2341439"/>
                    <a:pt x="1146585" y="2349799"/>
                  </a:cubicBezTo>
                  <a:cubicBezTo>
                    <a:pt x="1136980" y="2354815"/>
                    <a:pt x="1127375" y="2351471"/>
                    <a:pt x="1117770" y="2354815"/>
                  </a:cubicBezTo>
                  <a:cubicBezTo>
                    <a:pt x="1108165" y="2358159"/>
                    <a:pt x="1093758" y="2364846"/>
                    <a:pt x="1084153" y="2369862"/>
                  </a:cubicBezTo>
                  <a:cubicBezTo>
                    <a:pt x="1071346" y="2371534"/>
                    <a:pt x="1068145" y="2384910"/>
                    <a:pt x="1055338" y="2383238"/>
                  </a:cubicBezTo>
                  <a:cubicBezTo>
                    <a:pt x="1047334" y="2383238"/>
                    <a:pt x="1039329" y="2376550"/>
                    <a:pt x="1031325" y="2373206"/>
                  </a:cubicBezTo>
                  <a:cubicBezTo>
                    <a:pt x="1023321" y="2369862"/>
                    <a:pt x="1018519" y="2366518"/>
                    <a:pt x="1008914" y="2364846"/>
                  </a:cubicBezTo>
                  <a:cubicBezTo>
                    <a:pt x="999309" y="2363174"/>
                    <a:pt x="988103" y="2361503"/>
                    <a:pt x="975296" y="2358159"/>
                  </a:cubicBezTo>
                  <a:cubicBezTo>
                    <a:pt x="962489" y="2354815"/>
                    <a:pt x="949683" y="2348127"/>
                    <a:pt x="927271" y="2348127"/>
                  </a:cubicBezTo>
                  <a:cubicBezTo>
                    <a:pt x="904859" y="2346455"/>
                    <a:pt x="882447" y="2346455"/>
                    <a:pt x="840826" y="2354815"/>
                  </a:cubicBezTo>
                  <a:cubicBezTo>
                    <a:pt x="816813" y="2358159"/>
                    <a:pt x="800805" y="2361503"/>
                    <a:pt x="786397" y="2364846"/>
                  </a:cubicBezTo>
                  <a:cubicBezTo>
                    <a:pt x="771990" y="2368190"/>
                    <a:pt x="768788" y="2373206"/>
                    <a:pt x="757582" y="2378222"/>
                  </a:cubicBezTo>
                  <a:cubicBezTo>
                    <a:pt x="746376" y="2383238"/>
                    <a:pt x="731969" y="2388253"/>
                    <a:pt x="719162" y="2393269"/>
                  </a:cubicBezTo>
                  <a:cubicBezTo>
                    <a:pt x="706356" y="2398285"/>
                    <a:pt x="688746" y="2408316"/>
                    <a:pt x="675940" y="2409988"/>
                  </a:cubicBezTo>
                  <a:cubicBezTo>
                    <a:pt x="661532" y="2409988"/>
                    <a:pt x="655129" y="2404973"/>
                    <a:pt x="643923" y="2399957"/>
                  </a:cubicBezTo>
                  <a:cubicBezTo>
                    <a:pt x="632717" y="2394941"/>
                    <a:pt x="623112" y="2389925"/>
                    <a:pt x="611906" y="2383238"/>
                  </a:cubicBezTo>
                  <a:cubicBezTo>
                    <a:pt x="599100" y="2374878"/>
                    <a:pt x="587894" y="2361503"/>
                    <a:pt x="573486" y="2356487"/>
                  </a:cubicBezTo>
                  <a:cubicBezTo>
                    <a:pt x="560679" y="2351471"/>
                    <a:pt x="543070" y="2339768"/>
                    <a:pt x="543070" y="2339768"/>
                  </a:cubicBezTo>
                  <a:cubicBezTo>
                    <a:pt x="531864" y="2331408"/>
                    <a:pt x="512654" y="2308001"/>
                    <a:pt x="499848" y="2299641"/>
                  </a:cubicBezTo>
                  <a:cubicBezTo>
                    <a:pt x="488642" y="2289610"/>
                    <a:pt x="480638" y="2284594"/>
                    <a:pt x="474234" y="2279578"/>
                  </a:cubicBezTo>
                  <a:cubicBezTo>
                    <a:pt x="467831" y="2274562"/>
                    <a:pt x="456625" y="2264531"/>
                    <a:pt x="456625" y="2264531"/>
                  </a:cubicBezTo>
                  <a:cubicBezTo>
                    <a:pt x="450222" y="2257843"/>
                    <a:pt x="434213" y="2249484"/>
                    <a:pt x="408600" y="2229420"/>
                  </a:cubicBezTo>
                  <a:cubicBezTo>
                    <a:pt x="392592" y="2219389"/>
                    <a:pt x="371781" y="2209357"/>
                    <a:pt x="360575" y="2202670"/>
                  </a:cubicBezTo>
                  <a:cubicBezTo>
                    <a:pt x="349369" y="2195982"/>
                    <a:pt x="346167" y="2192638"/>
                    <a:pt x="341365" y="2187622"/>
                  </a:cubicBezTo>
                  <a:cubicBezTo>
                    <a:pt x="336562" y="2182607"/>
                    <a:pt x="331760" y="2172575"/>
                    <a:pt x="326957" y="2169231"/>
                  </a:cubicBezTo>
                  <a:cubicBezTo>
                    <a:pt x="322155" y="2165887"/>
                    <a:pt x="309348" y="2172575"/>
                    <a:pt x="306147" y="2169231"/>
                  </a:cubicBezTo>
                  <a:cubicBezTo>
                    <a:pt x="302945" y="2165887"/>
                    <a:pt x="306147" y="2154184"/>
                    <a:pt x="304546" y="2149168"/>
                  </a:cubicBezTo>
                  <a:cubicBezTo>
                    <a:pt x="302945" y="2142480"/>
                    <a:pt x="298142" y="2154184"/>
                    <a:pt x="293340" y="2137465"/>
                  </a:cubicBezTo>
                  <a:cubicBezTo>
                    <a:pt x="290138" y="2130777"/>
                    <a:pt x="285336" y="2117401"/>
                    <a:pt x="283735" y="2109042"/>
                  </a:cubicBezTo>
                  <a:cubicBezTo>
                    <a:pt x="282134" y="2100682"/>
                    <a:pt x="286936" y="2093995"/>
                    <a:pt x="286936" y="2087307"/>
                  </a:cubicBezTo>
                  <a:cubicBezTo>
                    <a:pt x="286936" y="2080619"/>
                    <a:pt x="288537" y="2070588"/>
                    <a:pt x="286936" y="2063900"/>
                  </a:cubicBezTo>
                  <a:cubicBezTo>
                    <a:pt x="285336" y="2057212"/>
                    <a:pt x="277331" y="2052196"/>
                    <a:pt x="272529" y="2048853"/>
                  </a:cubicBezTo>
                  <a:cubicBezTo>
                    <a:pt x="269327" y="2043837"/>
                    <a:pt x="254920" y="2045509"/>
                    <a:pt x="253319" y="2038821"/>
                  </a:cubicBezTo>
                  <a:cubicBezTo>
                    <a:pt x="251718" y="2032133"/>
                    <a:pt x="261323" y="2015414"/>
                    <a:pt x="259722" y="2008726"/>
                  </a:cubicBezTo>
                  <a:cubicBezTo>
                    <a:pt x="253319" y="2007054"/>
                    <a:pt x="246916" y="2003711"/>
                    <a:pt x="240512" y="2002039"/>
                  </a:cubicBezTo>
                  <a:cubicBezTo>
                    <a:pt x="234109" y="1998695"/>
                    <a:pt x="238911" y="2002039"/>
                    <a:pt x="224504" y="1993679"/>
                  </a:cubicBezTo>
                  <a:cubicBezTo>
                    <a:pt x="216500" y="1986991"/>
                    <a:pt x="195689" y="1971944"/>
                    <a:pt x="187685" y="1963584"/>
                  </a:cubicBezTo>
                  <a:cubicBezTo>
                    <a:pt x="179680" y="1955225"/>
                    <a:pt x="182882" y="1945193"/>
                    <a:pt x="178080" y="1938506"/>
                  </a:cubicBezTo>
                  <a:cubicBezTo>
                    <a:pt x="173277" y="1931818"/>
                    <a:pt x="165273" y="1931818"/>
                    <a:pt x="162071" y="1928474"/>
                  </a:cubicBezTo>
                  <a:cubicBezTo>
                    <a:pt x="157269" y="1925130"/>
                    <a:pt x="170075" y="1923458"/>
                    <a:pt x="158870" y="1921786"/>
                  </a:cubicBezTo>
                  <a:cubicBezTo>
                    <a:pt x="154067" y="1918442"/>
                    <a:pt x="146063" y="1911755"/>
                    <a:pt x="134857" y="1911755"/>
                  </a:cubicBezTo>
                  <a:cubicBezTo>
                    <a:pt x="123651" y="1911755"/>
                    <a:pt x="99639" y="1921786"/>
                    <a:pt x="91634" y="1921786"/>
                  </a:cubicBezTo>
                  <a:cubicBezTo>
                    <a:pt x="83630" y="1921786"/>
                    <a:pt x="85231" y="1911755"/>
                    <a:pt x="82029" y="1906739"/>
                  </a:cubicBezTo>
                  <a:cubicBezTo>
                    <a:pt x="78828" y="1901723"/>
                    <a:pt x="72424" y="1890020"/>
                    <a:pt x="75626" y="1886676"/>
                  </a:cubicBezTo>
                  <a:cubicBezTo>
                    <a:pt x="78828" y="1883332"/>
                    <a:pt x="96437" y="1886676"/>
                    <a:pt x="104441" y="1886676"/>
                  </a:cubicBezTo>
                  <a:cubicBezTo>
                    <a:pt x="112445" y="1886676"/>
                    <a:pt x="118849" y="1883332"/>
                    <a:pt x="125252" y="1881660"/>
                  </a:cubicBezTo>
                  <a:cubicBezTo>
                    <a:pt x="131655" y="1879988"/>
                    <a:pt x="142861" y="1874972"/>
                    <a:pt x="144462" y="1871629"/>
                  </a:cubicBezTo>
                  <a:cubicBezTo>
                    <a:pt x="146063" y="1868285"/>
                    <a:pt x="139660" y="1863269"/>
                    <a:pt x="133256" y="1861597"/>
                  </a:cubicBezTo>
                  <a:cubicBezTo>
                    <a:pt x="126853" y="1859925"/>
                    <a:pt x="114046" y="1861597"/>
                    <a:pt x="106042" y="1861597"/>
                  </a:cubicBezTo>
                  <a:cubicBezTo>
                    <a:pt x="98038" y="1861597"/>
                    <a:pt x="94836" y="1859925"/>
                    <a:pt x="86832" y="1858253"/>
                  </a:cubicBezTo>
                  <a:cubicBezTo>
                    <a:pt x="78828" y="1856581"/>
                    <a:pt x="62819" y="1851565"/>
                    <a:pt x="61219" y="1848222"/>
                  </a:cubicBezTo>
                  <a:cubicBezTo>
                    <a:pt x="51613" y="1841534"/>
                    <a:pt x="78828" y="1843206"/>
                    <a:pt x="77227" y="1833174"/>
                  </a:cubicBezTo>
                  <a:cubicBezTo>
                    <a:pt x="75626" y="1829830"/>
                    <a:pt x="51613" y="1833174"/>
                    <a:pt x="46811" y="1828158"/>
                  </a:cubicBezTo>
                  <a:cubicBezTo>
                    <a:pt x="42008" y="1823143"/>
                    <a:pt x="46811" y="1813111"/>
                    <a:pt x="46811" y="1806423"/>
                  </a:cubicBezTo>
                  <a:cubicBezTo>
                    <a:pt x="46811" y="1799736"/>
                    <a:pt x="48412" y="1796392"/>
                    <a:pt x="48412" y="1788032"/>
                  </a:cubicBezTo>
                  <a:cubicBezTo>
                    <a:pt x="48412" y="1781345"/>
                    <a:pt x="48412" y="1769641"/>
                    <a:pt x="43609" y="1751250"/>
                  </a:cubicBezTo>
                  <a:cubicBezTo>
                    <a:pt x="43609" y="1739546"/>
                    <a:pt x="53214" y="1727843"/>
                    <a:pt x="51613" y="1717811"/>
                  </a:cubicBezTo>
                  <a:cubicBezTo>
                    <a:pt x="50013" y="1707780"/>
                    <a:pt x="37206" y="1696076"/>
                    <a:pt x="32403" y="1686045"/>
                  </a:cubicBezTo>
                  <a:cubicBezTo>
                    <a:pt x="27601" y="1674341"/>
                    <a:pt x="16395" y="1677685"/>
                    <a:pt x="19597" y="1657622"/>
                  </a:cubicBezTo>
                  <a:cubicBezTo>
                    <a:pt x="14794" y="1652606"/>
                    <a:pt x="-2815" y="1657622"/>
                    <a:pt x="387" y="1652606"/>
                  </a:cubicBezTo>
                  <a:cubicBezTo>
                    <a:pt x="3588" y="1647591"/>
                    <a:pt x="26000" y="1634215"/>
                    <a:pt x="37206" y="1620840"/>
                  </a:cubicBezTo>
                  <a:cubicBezTo>
                    <a:pt x="48412" y="1607464"/>
                    <a:pt x="58017" y="1587401"/>
                    <a:pt x="62819" y="1572354"/>
                  </a:cubicBezTo>
                  <a:cubicBezTo>
                    <a:pt x="67622" y="1557307"/>
                    <a:pt x="66021" y="1545603"/>
                    <a:pt x="67622" y="1530556"/>
                  </a:cubicBezTo>
                  <a:cubicBezTo>
                    <a:pt x="70824" y="1515508"/>
                    <a:pt x="77227" y="1493773"/>
                    <a:pt x="82029" y="1482070"/>
                  </a:cubicBezTo>
                  <a:cubicBezTo>
                    <a:pt x="83630" y="1467023"/>
                    <a:pt x="96437" y="1467023"/>
                    <a:pt x="99639" y="1456991"/>
                  </a:cubicBezTo>
                  <a:cubicBezTo>
                    <a:pt x="102840" y="1446959"/>
                    <a:pt x="99639" y="1436928"/>
                    <a:pt x="99639" y="1420209"/>
                  </a:cubicBezTo>
                  <a:cubicBezTo>
                    <a:pt x="99639" y="1405161"/>
                    <a:pt x="102840" y="1368379"/>
                    <a:pt x="101239" y="1356676"/>
                  </a:cubicBezTo>
                  <a:cubicBezTo>
                    <a:pt x="99639" y="1343300"/>
                    <a:pt x="93235" y="1346644"/>
                    <a:pt x="90034" y="1339956"/>
                  </a:cubicBezTo>
                  <a:cubicBezTo>
                    <a:pt x="86832" y="1329925"/>
                    <a:pt x="82029" y="1321565"/>
                    <a:pt x="80429" y="1309862"/>
                  </a:cubicBezTo>
                  <a:cubicBezTo>
                    <a:pt x="80429" y="1299830"/>
                    <a:pt x="83630" y="1286455"/>
                    <a:pt x="85231" y="1276423"/>
                  </a:cubicBezTo>
                  <a:cubicBezTo>
                    <a:pt x="83630" y="1264720"/>
                    <a:pt x="96437" y="1261376"/>
                    <a:pt x="90034" y="1244657"/>
                  </a:cubicBezTo>
                  <a:cubicBezTo>
                    <a:pt x="88433" y="1234625"/>
                    <a:pt x="82029" y="1226265"/>
                    <a:pt x="77227" y="1219578"/>
                  </a:cubicBezTo>
                  <a:cubicBezTo>
                    <a:pt x="72424" y="1212890"/>
                    <a:pt x="67622" y="1209546"/>
                    <a:pt x="61219" y="1206202"/>
                  </a:cubicBezTo>
                  <a:cubicBezTo>
                    <a:pt x="54815" y="1202858"/>
                    <a:pt x="40408" y="1206202"/>
                    <a:pt x="38807" y="1201186"/>
                  </a:cubicBezTo>
                  <a:cubicBezTo>
                    <a:pt x="37206" y="1196171"/>
                    <a:pt x="51613" y="1187811"/>
                    <a:pt x="53214" y="1179451"/>
                  </a:cubicBezTo>
                  <a:cubicBezTo>
                    <a:pt x="54815" y="1167748"/>
                    <a:pt x="43609" y="1162732"/>
                    <a:pt x="43609" y="1151029"/>
                  </a:cubicBezTo>
                  <a:cubicBezTo>
                    <a:pt x="43609" y="1144341"/>
                    <a:pt x="51613" y="1140997"/>
                    <a:pt x="53214" y="1134309"/>
                  </a:cubicBezTo>
                  <a:cubicBezTo>
                    <a:pt x="54815" y="1127622"/>
                    <a:pt x="50013" y="1112574"/>
                    <a:pt x="54815" y="1105887"/>
                  </a:cubicBezTo>
                  <a:cubicBezTo>
                    <a:pt x="61219" y="1095855"/>
                    <a:pt x="75626" y="1104215"/>
                    <a:pt x="82029" y="1099199"/>
                  </a:cubicBezTo>
                  <a:cubicBezTo>
                    <a:pt x="88433" y="1094183"/>
                    <a:pt x="90034" y="1089167"/>
                    <a:pt x="93235" y="1079136"/>
                  </a:cubicBezTo>
                  <a:cubicBezTo>
                    <a:pt x="94836" y="1067432"/>
                    <a:pt x="101239" y="1050713"/>
                    <a:pt x="104441" y="1035666"/>
                  </a:cubicBezTo>
                  <a:cubicBezTo>
                    <a:pt x="109244" y="1025634"/>
                    <a:pt x="115647" y="1025634"/>
                    <a:pt x="118849" y="1018947"/>
                  </a:cubicBezTo>
                  <a:cubicBezTo>
                    <a:pt x="122050" y="1012259"/>
                    <a:pt x="115647" y="1003899"/>
                    <a:pt x="120450" y="995540"/>
                  </a:cubicBezTo>
                  <a:cubicBezTo>
                    <a:pt x="131655" y="985508"/>
                    <a:pt x="150865" y="965445"/>
                    <a:pt x="150865" y="965445"/>
                  </a:cubicBezTo>
                  <a:cubicBezTo>
                    <a:pt x="158870" y="953741"/>
                    <a:pt x="165273" y="948726"/>
                    <a:pt x="173277" y="938694"/>
                  </a:cubicBezTo>
                  <a:cubicBezTo>
                    <a:pt x="181281" y="928663"/>
                    <a:pt x="197290" y="918631"/>
                    <a:pt x="202092" y="905256"/>
                  </a:cubicBezTo>
                  <a:cubicBezTo>
                    <a:pt x="208495" y="891880"/>
                    <a:pt x="192487" y="873489"/>
                    <a:pt x="205294" y="858442"/>
                  </a:cubicBezTo>
                  <a:cubicBezTo>
                    <a:pt x="208495" y="848410"/>
                    <a:pt x="219701" y="848410"/>
                    <a:pt x="224504" y="840051"/>
                  </a:cubicBezTo>
                  <a:cubicBezTo>
                    <a:pt x="229306" y="831691"/>
                    <a:pt x="227706" y="818315"/>
                    <a:pt x="235710" y="809956"/>
                  </a:cubicBezTo>
                  <a:cubicBezTo>
                    <a:pt x="243714" y="801596"/>
                    <a:pt x="259722" y="796580"/>
                    <a:pt x="269327" y="788221"/>
                  </a:cubicBezTo>
                  <a:cubicBezTo>
                    <a:pt x="277331" y="778189"/>
                    <a:pt x="293340" y="773174"/>
                    <a:pt x="298142" y="763142"/>
                  </a:cubicBezTo>
                  <a:cubicBezTo>
                    <a:pt x="304546" y="753110"/>
                    <a:pt x="302945" y="736391"/>
                    <a:pt x="306147" y="728032"/>
                  </a:cubicBezTo>
                  <a:cubicBezTo>
                    <a:pt x="317352" y="718000"/>
                    <a:pt x="307747" y="709640"/>
                    <a:pt x="322155" y="707968"/>
                  </a:cubicBezTo>
                  <a:cubicBezTo>
                    <a:pt x="328558" y="699609"/>
                    <a:pt x="320554" y="691249"/>
                    <a:pt x="339764" y="684561"/>
                  </a:cubicBezTo>
                  <a:cubicBezTo>
                    <a:pt x="349369" y="679546"/>
                    <a:pt x="366978" y="681218"/>
                    <a:pt x="379785" y="677874"/>
                  </a:cubicBezTo>
                  <a:cubicBezTo>
                    <a:pt x="392592" y="674530"/>
                    <a:pt x="410201" y="671186"/>
                    <a:pt x="421407" y="667842"/>
                  </a:cubicBezTo>
                  <a:cubicBezTo>
                    <a:pt x="437415" y="661155"/>
                    <a:pt x="431012" y="659483"/>
                    <a:pt x="447020" y="652795"/>
                  </a:cubicBezTo>
                  <a:cubicBezTo>
                    <a:pt x="456625" y="644435"/>
                    <a:pt x="464629" y="627716"/>
                    <a:pt x="475835" y="619356"/>
                  </a:cubicBezTo>
                  <a:cubicBezTo>
                    <a:pt x="487041" y="610997"/>
                    <a:pt x="501448" y="616013"/>
                    <a:pt x="512654" y="604309"/>
                  </a:cubicBezTo>
                  <a:cubicBezTo>
                    <a:pt x="528663" y="579230"/>
                    <a:pt x="531864" y="575886"/>
                    <a:pt x="547873" y="550807"/>
                  </a:cubicBezTo>
                  <a:cubicBezTo>
                    <a:pt x="554276" y="535760"/>
                    <a:pt x="557478" y="549136"/>
                    <a:pt x="562280" y="527400"/>
                  </a:cubicBezTo>
                  <a:cubicBezTo>
                    <a:pt x="565482" y="520713"/>
                    <a:pt x="567083" y="515697"/>
                    <a:pt x="567083" y="509009"/>
                  </a:cubicBezTo>
                  <a:cubicBezTo>
                    <a:pt x="567083" y="502322"/>
                    <a:pt x="559079" y="497306"/>
                    <a:pt x="557478" y="483930"/>
                  </a:cubicBezTo>
                  <a:cubicBezTo>
                    <a:pt x="555877" y="470555"/>
                    <a:pt x="554276" y="442132"/>
                    <a:pt x="557478" y="428757"/>
                  </a:cubicBezTo>
                  <a:cubicBezTo>
                    <a:pt x="560679" y="415381"/>
                    <a:pt x="570284" y="413710"/>
                    <a:pt x="576688" y="402006"/>
                  </a:cubicBezTo>
                  <a:cubicBezTo>
                    <a:pt x="595898" y="376927"/>
                    <a:pt x="584692" y="375255"/>
                    <a:pt x="592696" y="356864"/>
                  </a:cubicBezTo>
                  <a:cubicBezTo>
                    <a:pt x="600700" y="345161"/>
                    <a:pt x="611906" y="333457"/>
                    <a:pt x="623112" y="328441"/>
                  </a:cubicBezTo>
                  <a:cubicBezTo>
                    <a:pt x="634318" y="318410"/>
                    <a:pt x="650326" y="300019"/>
                    <a:pt x="663133" y="291659"/>
                  </a:cubicBezTo>
                  <a:cubicBezTo>
                    <a:pt x="675940" y="283299"/>
                    <a:pt x="690347" y="279956"/>
                    <a:pt x="704755" y="276612"/>
                  </a:cubicBezTo>
                  <a:cubicBezTo>
                    <a:pt x="715961" y="271596"/>
                    <a:pt x="720763" y="264908"/>
                    <a:pt x="733570" y="256549"/>
                  </a:cubicBezTo>
                  <a:cubicBezTo>
                    <a:pt x="755981" y="238157"/>
                    <a:pt x="755981" y="236485"/>
                    <a:pt x="783196" y="226454"/>
                  </a:cubicBezTo>
                  <a:cubicBezTo>
                    <a:pt x="792801" y="213079"/>
                    <a:pt x="792801" y="203047"/>
                    <a:pt x="796002" y="191343"/>
                  </a:cubicBezTo>
                  <a:cubicBezTo>
                    <a:pt x="799204" y="179640"/>
                    <a:pt x="799204" y="166265"/>
                    <a:pt x="804007" y="156233"/>
                  </a:cubicBezTo>
                  <a:cubicBezTo>
                    <a:pt x="805607" y="149545"/>
                    <a:pt x="816813" y="137842"/>
                    <a:pt x="821616" y="132826"/>
                  </a:cubicBezTo>
                  <a:cubicBezTo>
                    <a:pt x="826418" y="126138"/>
                    <a:pt x="828019" y="111091"/>
                    <a:pt x="834422" y="107747"/>
                  </a:cubicBezTo>
                  <a:cubicBezTo>
                    <a:pt x="840826" y="104403"/>
                    <a:pt x="853632" y="111091"/>
                    <a:pt x="858435" y="111091"/>
                  </a:cubicBezTo>
                  <a:cubicBezTo>
                    <a:pt x="866439" y="116107"/>
                    <a:pt x="880847" y="127810"/>
                    <a:pt x="888851" y="137842"/>
                  </a:cubicBezTo>
                  <a:cubicBezTo>
                    <a:pt x="896855" y="144530"/>
                    <a:pt x="898456" y="149545"/>
                    <a:pt x="906460" y="151217"/>
                  </a:cubicBezTo>
                  <a:cubicBezTo>
                    <a:pt x="919267" y="149545"/>
                    <a:pt x="924069" y="159577"/>
                    <a:pt x="935275" y="152889"/>
                  </a:cubicBezTo>
                  <a:cubicBezTo>
                    <a:pt x="941678" y="149545"/>
                    <a:pt x="948082" y="149545"/>
                    <a:pt x="954485" y="146201"/>
                  </a:cubicBezTo>
                  <a:cubicBezTo>
                    <a:pt x="960888" y="142858"/>
                    <a:pt x="964090" y="147873"/>
                    <a:pt x="970493" y="149545"/>
                  </a:cubicBezTo>
                  <a:cubicBezTo>
                    <a:pt x="978498" y="151217"/>
                    <a:pt x="991304" y="149545"/>
                    <a:pt x="999309" y="151217"/>
                  </a:cubicBezTo>
                  <a:cubicBezTo>
                    <a:pt x="1007313" y="149545"/>
                    <a:pt x="1015317" y="139514"/>
                    <a:pt x="1021720" y="141186"/>
                  </a:cubicBezTo>
                  <a:cubicBezTo>
                    <a:pt x="1029724" y="139514"/>
                    <a:pt x="1010514" y="159577"/>
                    <a:pt x="1037729" y="156233"/>
                  </a:cubicBezTo>
                  <a:cubicBezTo>
                    <a:pt x="1044132" y="159577"/>
                    <a:pt x="1050535" y="156233"/>
                    <a:pt x="1061741" y="157905"/>
                  </a:cubicBezTo>
                  <a:cubicBezTo>
                    <a:pt x="1072947" y="159577"/>
                    <a:pt x="1095359" y="164593"/>
                    <a:pt x="1103363" y="162921"/>
                  </a:cubicBezTo>
                  <a:cubicBezTo>
                    <a:pt x="1111367" y="161249"/>
                    <a:pt x="1108165" y="146201"/>
                    <a:pt x="1114569" y="142858"/>
                  </a:cubicBezTo>
                  <a:cubicBezTo>
                    <a:pt x="1120972" y="139514"/>
                    <a:pt x="1136980" y="146201"/>
                    <a:pt x="1141783" y="142858"/>
                  </a:cubicBezTo>
                  <a:cubicBezTo>
                    <a:pt x="1146585" y="139514"/>
                    <a:pt x="1141783" y="131154"/>
                    <a:pt x="1146585" y="126138"/>
                  </a:cubicBezTo>
                  <a:cubicBezTo>
                    <a:pt x="1151388" y="121123"/>
                    <a:pt x="1162594" y="114435"/>
                    <a:pt x="1170598" y="111091"/>
                  </a:cubicBezTo>
                  <a:cubicBezTo>
                    <a:pt x="1178602" y="107747"/>
                    <a:pt x="1186606" y="106075"/>
                    <a:pt x="1194611" y="106075"/>
                  </a:cubicBezTo>
                  <a:cubicBezTo>
                    <a:pt x="1202615" y="104403"/>
                    <a:pt x="1212220" y="109419"/>
                    <a:pt x="1220224" y="107747"/>
                  </a:cubicBezTo>
                  <a:cubicBezTo>
                    <a:pt x="1228228" y="104403"/>
                    <a:pt x="1236232" y="94372"/>
                    <a:pt x="1244236" y="87684"/>
                  </a:cubicBezTo>
                  <a:cubicBezTo>
                    <a:pt x="1250640" y="80996"/>
                    <a:pt x="1239434" y="77653"/>
                    <a:pt x="1268249" y="70965"/>
                  </a:cubicBezTo>
                  <a:cubicBezTo>
                    <a:pt x="1277854" y="65949"/>
                    <a:pt x="1287459" y="62605"/>
                    <a:pt x="1301867" y="60933"/>
                  </a:cubicBezTo>
                  <a:cubicBezTo>
                    <a:pt x="1316274" y="59261"/>
                    <a:pt x="1345089" y="59261"/>
                    <a:pt x="1357896" y="55917"/>
                  </a:cubicBezTo>
                  <a:cubicBezTo>
                    <a:pt x="1370703" y="52574"/>
                    <a:pt x="1372303" y="45886"/>
                    <a:pt x="1377106" y="45886"/>
                  </a:cubicBezTo>
                  <a:cubicBezTo>
                    <a:pt x="1381908" y="45886"/>
                    <a:pt x="1385110" y="52574"/>
                    <a:pt x="1391513" y="52574"/>
                  </a:cubicBezTo>
                  <a:cubicBezTo>
                    <a:pt x="1397917" y="52574"/>
                    <a:pt x="1409123" y="45886"/>
                    <a:pt x="1420328" y="42542"/>
                  </a:cubicBezTo>
                  <a:cubicBezTo>
                    <a:pt x="1431534" y="39198"/>
                    <a:pt x="1437938" y="35854"/>
                    <a:pt x="1460349" y="35854"/>
                  </a:cubicBezTo>
                  <a:cubicBezTo>
                    <a:pt x="1482761" y="32511"/>
                    <a:pt x="1538790" y="24151"/>
                    <a:pt x="1554799" y="25823"/>
                  </a:cubicBezTo>
                  <a:cubicBezTo>
                    <a:pt x="1570807" y="27495"/>
                    <a:pt x="1554799" y="39198"/>
                    <a:pt x="1559601" y="42542"/>
                  </a:cubicBezTo>
                  <a:cubicBezTo>
                    <a:pt x="1564404" y="44214"/>
                    <a:pt x="1564404" y="55917"/>
                    <a:pt x="1585215" y="50902"/>
                  </a:cubicBezTo>
                  <a:cubicBezTo>
                    <a:pt x="1591618" y="49230"/>
                    <a:pt x="1591618" y="37526"/>
                    <a:pt x="1598021" y="35854"/>
                  </a:cubicBezTo>
                  <a:cubicBezTo>
                    <a:pt x="1604425" y="34182"/>
                    <a:pt x="1617231" y="42542"/>
                    <a:pt x="1623635" y="40870"/>
                  </a:cubicBezTo>
                  <a:cubicBezTo>
                    <a:pt x="1630038" y="39198"/>
                    <a:pt x="1634840" y="24151"/>
                    <a:pt x="1641244" y="20807"/>
                  </a:cubicBezTo>
                  <a:cubicBezTo>
                    <a:pt x="1647647" y="17463"/>
                    <a:pt x="1655651" y="14119"/>
                    <a:pt x="1660454" y="15791"/>
                  </a:cubicBezTo>
                  <a:cubicBezTo>
                    <a:pt x="1665256" y="17463"/>
                    <a:pt x="1668458" y="25823"/>
                    <a:pt x="1674861" y="27495"/>
                  </a:cubicBezTo>
                  <a:cubicBezTo>
                    <a:pt x="1679664" y="31257"/>
                    <a:pt x="1677263" y="31257"/>
                    <a:pt x="1703676" y="27495"/>
                  </a:cubicBezTo>
                  <a:cubicBezTo>
                    <a:pt x="1710080" y="25823"/>
                    <a:pt x="1703676" y="14119"/>
                    <a:pt x="1710080" y="12447"/>
                  </a:cubicBezTo>
                  <a:cubicBezTo>
                    <a:pt x="1716483" y="10776"/>
                    <a:pt x="1737294" y="15791"/>
                    <a:pt x="1743697" y="17463"/>
                  </a:cubicBezTo>
                  <a:cubicBezTo>
                    <a:pt x="1750101" y="19135"/>
                    <a:pt x="1740496" y="25823"/>
                    <a:pt x="1751702" y="27495"/>
                  </a:cubicBezTo>
                  <a:cubicBezTo>
                    <a:pt x="1762907" y="29167"/>
                    <a:pt x="1801327" y="30839"/>
                    <a:pt x="1814134" y="27495"/>
                  </a:cubicBezTo>
                  <a:cubicBezTo>
                    <a:pt x="1826941" y="24151"/>
                    <a:pt x="1818937" y="15791"/>
                    <a:pt x="1825340" y="10776"/>
                  </a:cubicBezTo>
                  <a:cubicBezTo>
                    <a:pt x="1831743" y="5760"/>
                    <a:pt x="1841348" y="2416"/>
                    <a:pt x="1849353" y="744"/>
                  </a:cubicBezTo>
                  <a:close/>
                </a:path>
              </a:pathLst>
            </a:custGeom>
            <a:solidFill>
              <a:srgbClr val="8B971B"/>
            </a:solidFill>
            <a:ln w="9525" cap="flat" cmpd="sng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CA" sz="1837" dirty="0"/>
            </a:p>
          </p:txBody>
        </p:sp>
      </p:grpSp>
    </p:spTree>
    <p:extLst>
      <p:ext uri="{BB962C8B-B14F-4D97-AF65-F5344CB8AC3E}">
        <p14:creationId xmlns:p14="http://schemas.microsoft.com/office/powerpoint/2010/main" val="142924249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Content &gt; 3 O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42927" y="445020"/>
            <a:ext cx="1857375" cy="872547"/>
          </a:xfrm>
        </p:spPr>
        <p:txBody>
          <a:bodyPr wrap="square" lIns="0" tIns="0" rIns="0" bIns="0" anchor="t">
            <a:spAutoFit/>
          </a:bodyPr>
          <a:lstStyle>
            <a:lvl1pPr>
              <a:defRPr sz="2100" b="1" baseline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542926" y="2799129"/>
            <a:ext cx="3808358" cy="778996"/>
          </a:xfr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10000"/>
              </a:lnSpc>
              <a:spcBef>
                <a:spcPts val="0"/>
              </a:spcBef>
              <a:spcAft>
                <a:spcPts val="225"/>
              </a:spcAft>
              <a:buNone/>
              <a:defRPr sz="1050">
                <a:latin typeface="+mj-lt"/>
              </a:defRPr>
            </a:lvl1pPr>
            <a:lvl2pPr marL="171446" indent="-171446">
              <a:lnSpc>
                <a:spcPct val="110000"/>
              </a:lnSpc>
              <a:spcBef>
                <a:spcPts val="0"/>
              </a:spcBef>
              <a:spcAft>
                <a:spcPts val="225"/>
              </a:spcAft>
              <a:defRPr sz="1050">
                <a:latin typeface="+mj-lt"/>
              </a:defRPr>
            </a:lvl2pPr>
            <a:lvl3pPr marL="342892" indent="-171446">
              <a:lnSpc>
                <a:spcPct val="110000"/>
              </a:lnSpc>
              <a:spcBef>
                <a:spcPts val="0"/>
              </a:spcBef>
              <a:spcAft>
                <a:spcPts val="225"/>
              </a:spcAft>
              <a:defRPr sz="1050">
                <a:latin typeface="+mj-lt"/>
              </a:defRPr>
            </a:lvl3pPr>
            <a:lvl4pPr marL="514337" indent="-171446">
              <a:lnSpc>
                <a:spcPct val="110000"/>
              </a:lnSpc>
              <a:spcBef>
                <a:spcPts val="0"/>
              </a:spcBef>
              <a:spcAft>
                <a:spcPts val="225"/>
              </a:spcAft>
              <a:defRPr sz="1050">
                <a:latin typeface="+mj-lt"/>
              </a:defRPr>
            </a:lvl4pPr>
            <a:lvl5pPr>
              <a:defRPr sz="1050">
                <a:latin typeface="+mj-lt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6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4769754" y="2799129"/>
            <a:ext cx="3808358" cy="778996"/>
          </a:xfr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10000"/>
              </a:lnSpc>
              <a:spcBef>
                <a:spcPts val="0"/>
              </a:spcBef>
              <a:spcAft>
                <a:spcPts val="225"/>
              </a:spcAft>
              <a:buNone/>
              <a:defRPr sz="1050">
                <a:latin typeface="+mj-lt"/>
              </a:defRPr>
            </a:lvl1pPr>
            <a:lvl2pPr marL="171446" indent="-171446">
              <a:lnSpc>
                <a:spcPct val="110000"/>
              </a:lnSpc>
              <a:spcBef>
                <a:spcPts val="0"/>
              </a:spcBef>
              <a:spcAft>
                <a:spcPts val="225"/>
              </a:spcAft>
              <a:defRPr sz="1050">
                <a:latin typeface="+mj-lt"/>
              </a:defRPr>
            </a:lvl2pPr>
            <a:lvl3pPr marL="342892" indent="-171446">
              <a:lnSpc>
                <a:spcPct val="110000"/>
              </a:lnSpc>
              <a:spcBef>
                <a:spcPts val="0"/>
              </a:spcBef>
              <a:spcAft>
                <a:spcPts val="225"/>
              </a:spcAft>
              <a:defRPr sz="1050">
                <a:latin typeface="+mj-lt"/>
              </a:defRPr>
            </a:lvl3pPr>
            <a:lvl4pPr marL="514337" indent="-171446">
              <a:lnSpc>
                <a:spcPct val="110000"/>
              </a:lnSpc>
              <a:spcBef>
                <a:spcPts val="0"/>
              </a:spcBef>
              <a:spcAft>
                <a:spcPts val="225"/>
              </a:spcAft>
              <a:defRPr sz="1050">
                <a:latin typeface="+mj-lt"/>
              </a:defRPr>
            </a:lvl4pPr>
            <a:lvl5pPr>
              <a:defRPr sz="1050">
                <a:latin typeface="+mj-lt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22" name="Text Placeholder 21"/>
          <p:cNvSpPr>
            <a:spLocks noGrp="1"/>
          </p:cNvSpPr>
          <p:nvPr>
            <p:ph type="body" sz="quarter" idx="16"/>
          </p:nvPr>
        </p:nvSpPr>
        <p:spPr>
          <a:xfrm>
            <a:off x="542929" y="2151477"/>
            <a:ext cx="2413397" cy="163956"/>
          </a:xfrm>
        </p:spPr>
        <p:txBody>
          <a:bodyPr vert="horz" wrap="square" lIns="0" tIns="0" rIns="0" bIns="0" rtlCol="0">
            <a:spAutoFit/>
          </a:bodyPr>
          <a:lstStyle>
            <a:lvl1pPr marL="0" indent="0">
              <a:buFont typeface="Arial" panose="020B0604020202020204" pitchFamily="34" charset="0"/>
              <a:buNone/>
              <a:defRPr lang="en-US" sz="1050" b="1" smtClean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lang="en-US" sz="1050" smtClean="0">
                <a:latin typeface="+mj-lt"/>
              </a:defRPr>
            </a:lvl2pPr>
            <a:lvl3pPr>
              <a:defRPr lang="en-US" sz="1050" smtClean="0">
                <a:latin typeface="+mj-lt"/>
              </a:defRPr>
            </a:lvl3pPr>
            <a:lvl4pPr>
              <a:defRPr lang="en-US" sz="1050" smtClean="0">
                <a:latin typeface="+mj-lt"/>
              </a:defRPr>
            </a:lvl4pPr>
            <a:lvl5pPr>
              <a:defRPr lang="en-GB" sz="1050">
                <a:latin typeface="+mj-lt"/>
              </a:defRPr>
            </a:lvl5pPr>
          </a:lstStyle>
          <a:p>
            <a:pPr marL="171446" lvl="0" indent="-171446">
              <a:lnSpc>
                <a:spcPct val="110000"/>
              </a:lnSpc>
              <a:spcAft>
                <a:spcPts val="225"/>
              </a:spcAft>
            </a:pPr>
            <a:r>
              <a:rPr lang="en-US" dirty="0"/>
              <a:t>Edit Master text styles</a:t>
            </a:r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CE33AE2B-758D-428A-A029-1BCB73E99F7C}"/>
              </a:ext>
            </a:extLst>
          </p:cNvPr>
          <p:cNvGrpSpPr/>
          <p:nvPr userDrawn="1"/>
        </p:nvGrpSpPr>
        <p:grpSpPr>
          <a:xfrm>
            <a:off x="1120" y="6781800"/>
            <a:ext cx="9142880" cy="76200"/>
            <a:chOff x="0" y="0"/>
            <a:chExt cx="12190506" cy="295275"/>
          </a:xfrm>
        </p:grpSpPr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58CEB6F1-1DA0-41C4-8020-449F448D336C}"/>
                </a:ext>
              </a:extLst>
            </p:cNvPr>
            <p:cNvSpPr/>
            <p:nvPr userDrawn="1"/>
          </p:nvSpPr>
          <p:spPr>
            <a:xfrm>
              <a:off x="0" y="0"/>
              <a:ext cx="6096000" cy="295275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350"/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2F0567F8-0A5D-42D8-B421-8DDBBFF16428}"/>
                </a:ext>
              </a:extLst>
            </p:cNvPr>
            <p:cNvSpPr/>
            <p:nvPr userDrawn="1"/>
          </p:nvSpPr>
          <p:spPr>
            <a:xfrm>
              <a:off x="6097494" y="0"/>
              <a:ext cx="2031004" cy="295275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350"/>
            </a:p>
          </p:txBody>
        </p:sp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8F1FE5C0-D7BD-44F1-9752-605581E75523}"/>
                </a:ext>
              </a:extLst>
            </p:cNvPr>
            <p:cNvSpPr/>
            <p:nvPr userDrawn="1"/>
          </p:nvSpPr>
          <p:spPr>
            <a:xfrm>
              <a:off x="8128498" y="0"/>
              <a:ext cx="2031004" cy="295275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350"/>
            </a:p>
          </p:txBody>
        </p:sp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1D5079C2-F9E7-4568-8D03-8C09F2255E96}"/>
                </a:ext>
              </a:extLst>
            </p:cNvPr>
            <p:cNvSpPr/>
            <p:nvPr userDrawn="1"/>
          </p:nvSpPr>
          <p:spPr>
            <a:xfrm>
              <a:off x="10159502" y="0"/>
              <a:ext cx="2031004" cy="295275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350"/>
            </a:p>
          </p:txBody>
        </p:sp>
      </p:grpSp>
      <p:sp>
        <p:nvSpPr>
          <p:cNvPr id="24" name="Text Placeholder 6">
            <a:extLst>
              <a:ext uri="{FF2B5EF4-FFF2-40B4-BE49-F238E27FC236}">
                <a16:creationId xmlns:a16="http://schemas.microsoft.com/office/drawing/2014/main" id="{E118B0D1-43EE-424A-98AF-5E88036A721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57404" y="6547763"/>
            <a:ext cx="7052072" cy="120610"/>
          </a:xfrm>
        </p:spPr>
        <p:txBody>
          <a:bodyPr vert="horz" wrap="square" lIns="0" tIns="0" rIns="0" bIns="0" rtlCol="0" anchor="b">
            <a:spAutoFit/>
          </a:bodyPr>
          <a:lstStyle>
            <a:lvl1pPr marL="0" indent="0">
              <a:buNone/>
              <a:defRPr lang="en-US" sz="750" dirty="0" smtClean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lang="en-US" sz="1050" dirty="0" smtClean="0">
                <a:latin typeface="+mj-lt"/>
              </a:defRPr>
            </a:lvl2pPr>
            <a:lvl3pPr>
              <a:defRPr lang="en-US" sz="1050" dirty="0" smtClean="0">
                <a:latin typeface="+mj-lt"/>
              </a:defRPr>
            </a:lvl3pPr>
            <a:lvl4pPr>
              <a:defRPr lang="en-US" sz="1050" dirty="0" smtClean="0">
                <a:latin typeface="+mj-lt"/>
              </a:defRPr>
            </a:lvl4pPr>
            <a:lvl5pPr>
              <a:defRPr lang="en-GB" sz="1050" dirty="0">
                <a:latin typeface="+mj-lt"/>
              </a:defRPr>
            </a:lvl5pPr>
          </a:lstStyle>
          <a:p>
            <a:pPr marL="171446" lvl="0" indent="-171446">
              <a:lnSpc>
                <a:spcPct val="110000"/>
              </a:lnSpc>
              <a:spcBef>
                <a:spcPts val="0"/>
              </a:spcBef>
              <a:spcAft>
                <a:spcPts val="225"/>
              </a:spcAft>
            </a:pPr>
            <a:r>
              <a:rPr lang="en-US" dirty="0"/>
              <a:t>SOURCE:</a:t>
            </a:r>
          </a:p>
        </p:txBody>
      </p:sp>
      <p:pic>
        <p:nvPicPr>
          <p:cNvPr id="25" name="Picture 24" descr="ALMA">
            <a:extLst>
              <a:ext uri="{FF2B5EF4-FFF2-40B4-BE49-F238E27FC236}">
                <a16:creationId xmlns:a16="http://schemas.microsoft.com/office/drawing/2014/main" id="{6295C66D-DA12-408E-B60B-5A2FA43D569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305637" y="6368553"/>
            <a:ext cx="680959" cy="2998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31136770"/>
      </p:ext>
    </p:extLst>
  </p:cSld>
  <p:clrMapOvr>
    <a:masterClrMapping/>
  </p:clrMapOvr>
  <p:hf hdr="0" ftr="0" dt="0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ontent &gt; 3 O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42927" y="445020"/>
            <a:ext cx="1857375" cy="872547"/>
          </a:xfrm>
        </p:spPr>
        <p:txBody>
          <a:bodyPr wrap="square" lIns="0" tIns="0" rIns="0" bIns="0" anchor="t">
            <a:spAutoFit/>
          </a:bodyPr>
          <a:lstStyle>
            <a:lvl1pPr>
              <a:defRPr sz="2100" b="1" baseline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542929" y="2799129"/>
            <a:ext cx="2578511" cy="778996"/>
          </a:xfr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10000"/>
              </a:lnSpc>
              <a:spcBef>
                <a:spcPts val="0"/>
              </a:spcBef>
              <a:spcAft>
                <a:spcPts val="225"/>
              </a:spcAft>
              <a:buNone/>
              <a:defRPr sz="1050">
                <a:latin typeface="+mj-lt"/>
              </a:defRPr>
            </a:lvl1pPr>
            <a:lvl2pPr marL="171446" indent="-171446">
              <a:lnSpc>
                <a:spcPct val="110000"/>
              </a:lnSpc>
              <a:spcBef>
                <a:spcPts val="0"/>
              </a:spcBef>
              <a:spcAft>
                <a:spcPts val="225"/>
              </a:spcAft>
              <a:defRPr sz="1050">
                <a:latin typeface="+mj-lt"/>
              </a:defRPr>
            </a:lvl2pPr>
            <a:lvl3pPr marL="342892" indent="-171446">
              <a:lnSpc>
                <a:spcPct val="110000"/>
              </a:lnSpc>
              <a:spcBef>
                <a:spcPts val="0"/>
              </a:spcBef>
              <a:spcAft>
                <a:spcPts val="225"/>
              </a:spcAft>
              <a:defRPr sz="1050">
                <a:latin typeface="+mj-lt"/>
              </a:defRPr>
            </a:lvl3pPr>
            <a:lvl4pPr marL="514337" indent="-171446">
              <a:lnSpc>
                <a:spcPct val="110000"/>
              </a:lnSpc>
              <a:spcBef>
                <a:spcPts val="0"/>
              </a:spcBef>
              <a:spcAft>
                <a:spcPts val="225"/>
              </a:spcAft>
              <a:defRPr sz="1050">
                <a:latin typeface="+mj-lt"/>
              </a:defRPr>
            </a:lvl4pPr>
            <a:lvl5pPr>
              <a:defRPr sz="1050">
                <a:latin typeface="+mj-lt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6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3254361" y="2799129"/>
            <a:ext cx="2578511" cy="778996"/>
          </a:xfr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10000"/>
              </a:lnSpc>
              <a:spcBef>
                <a:spcPts val="0"/>
              </a:spcBef>
              <a:spcAft>
                <a:spcPts val="225"/>
              </a:spcAft>
              <a:buNone/>
              <a:defRPr sz="1050">
                <a:latin typeface="+mj-lt"/>
              </a:defRPr>
            </a:lvl1pPr>
            <a:lvl2pPr marL="171446" indent="-171446">
              <a:lnSpc>
                <a:spcPct val="110000"/>
              </a:lnSpc>
              <a:spcBef>
                <a:spcPts val="0"/>
              </a:spcBef>
              <a:spcAft>
                <a:spcPts val="225"/>
              </a:spcAft>
              <a:defRPr sz="1050">
                <a:latin typeface="+mj-lt"/>
              </a:defRPr>
            </a:lvl2pPr>
            <a:lvl3pPr marL="342892" indent="-171446">
              <a:lnSpc>
                <a:spcPct val="110000"/>
              </a:lnSpc>
              <a:spcBef>
                <a:spcPts val="0"/>
              </a:spcBef>
              <a:spcAft>
                <a:spcPts val="225"/>
              </a:spcAft>
              <a:defRPr sz="1050">
                <a:latin typeface="+mj-lt"/>
              </a:defRPr>
            </a:lvl3pPr>
            <a:lvl4pPr marL="514337" indent="-171446">
              <a:lnSpc>
                <a:spcPct val="110000"/>
              </a:lnSpc>
              <a:spcBef>
                <a:spcPts val="0"/>
              </a:spcBef>
              <a:spcAft>
                <a:spcPts val="225"/>
              </a:spcAft>
              <a:defRPr sz="1050">
                <a:latin typeface="+mj-lt"/>
              </a:defRPr>
            </a:lvl4pPr>
            <a:lvl5pPr>
              <a:defRPr sz="1050">
                <a:latin typeface="+mj-lt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7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5965792" y="2799129"/>
            <a:ext cx="2628590" cy="778996"/>
          </a:xfr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10000"/>
              </a:lnSpc>
              <a:spcBef>
                <a:spcPts val="0"/>
              </a:spcBef>
              <a:spcAft>
                <a:spcPts val="225"/>
              </a:spcAft>
              <a:buNone/>
              <a:defRPr sz="1050">
                <a:latin typeface="+mj-lt"/>
              </a:defRPr>
            </a:lvl1pPr>
            <a:lvl2pPr marL="171446" indent="-171446">
              <a:lnSpc>
                <a:spcPct val="110000"/>
              </a:lnSpc>
              <a:spcBef>
                <a:spcPts val="0"/>
              </a:spcBef>
              <a:spcAft>
                <a:spcPts val="225"/>
              </a:spcAft>
              <a:defRPr sz="1050">
                <a:latin typeface="+mj-lt"/>
              </a:defRPr>
            </a:lvl2pPr>
            <a:lvl3pPr marL="342892" indent="-171446">
              <a:lnSpc>
                <a:spcPct val="110000"/>
              </a:lnSpc>
              <a:spcBef>
                <a:spcPts val="0"/>
              </a:spcBef>
              <a:spcAft>
                <a:spcPts val="225"/>
              </a:spcAft>
              <a:defRPr sz="1050">
                <a:latin typeface="+mj-lt"/>
              </a:defRPr>
            </a:lvl3pPr>
            <a:lvl4pPr marL="514337" indent="-171446">
              <a:lnSpc>
                <a:spcPct val="110000"/>
              </a:lnSpc>
              <a:spcBef>
                <a:spcPts val="0"/>
              </a:spcBef>
              <a:spcAft>
                <a:spcPts val="225"/>
              </a:spcAft>
              <a:defRPr sz="1050">
                <a:latin typeface="+mj-lt"/>
              </a:defRPr>
            </a:lvl4pPr>
            <a:lvl5pPr>
              <a:defRPr sz="1050">
                <a:latin typeface="+mj-lt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22" name="Text Placeholder 21"/>
          <p:cNvSpPr>
            <a:spLocks noGrp="1"/>
          </p:cNvSpPr>
          <p:nvPr>
            <p:ph type="body" sz="quarter" idx="16"/>
          </p:nvPr>
        </p:nvSpPr>
        <p:spPr>
          <a:xfrm>
            <a:off x="542929" y="2151477"/>
            <a:ext cx="2413397" cy="163956"/>
          </a:xfrm>
        </p:spPr>
        <p:txBody>
          <a:bodyPr vert="horz" wrap="square" lIns="0" tIns="0" rIns="0" bIns="0" rtlCol="0">
            <a:spAutoFit/>
          </a:bodyPr>
          <a:lstStyle>
            <a:lvl1pPr marL="0" indent="0">
              <a:buNone/>
              <a:defRPr lang="en-GB" sz="1050" b="1" dirty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171446" lvl="0" indent="-171446">
              <a:lnSpc>
                <a:spcPct val="110000"/>
              </a:lnSpc>
              <a:spcAft>
                <a:spcPts val="225"/>
              </a:spcAft>
            </a:pPr>
            <a:r>
              <a:rPr lang="en-US"/>
              <a:t>Edit Master text styles</a:t>
            </a:r>
          </a:p>
        </p:txBody>
      </p:sp>
      <p:grpSp>
        <p:nvGrpSpPr>
          <p:cNvPr id="19" name="Group 18">
            <a:extLst>
              <a:ext uri="{FF2B5EF4-FFF2-40B4-BE49-F238E27FC236}">
                <a16:creationId xmlns:a16="http://schemas.microsoft.com/office/drawing/2014/main" id="{732E92C2-14B8-4361-B700-B1A259D5184A}"/>
              </a:ext>
            </a:extLst>
          </p:cNvPr>
          <p:cNvGrpSpPr/>
          <p:nvPr userDrawn="1"/>
        </p:nvGrpSpPr>
        <p:grpSpPr>
          <a:xfrm>
            <a:off x="1120" y="6781800"/>
            <a:ext cx="9142880" cy="76200"/>
            <a:chOff x="0" y="0"/>
            <a:chExt cx="12190506" cy="295275"/>
          </a:xfrm>
        </p:grpSpPr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1416DCFC-5D51-4D58-8C7E-2E92A346BB1D}"/>
                </a:ext>
              </a:extLst>
            </p:cNvPr>
            <p:cNvSpPr/>
            <p:nvPr userDrawn="1"/>
          </p:nvSpPr>
          <p:spPr>
            <a:xfrm>
              <a:off x="0" y="0"/>
              <a:ext cx="6096000" cy="295275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350"/>
            </a:p>
          </p:txBody>
        </p:sp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2CBBCE12-58B2-4CE5-8CF2-ADFA2B7F6C45}"/>
                </a:ext>
              </a:extLst>
            </p:cNvPr>
            <p:cNvSpPr/>
            <p:nvPr userDrawn="1"/>
          </p:nvSpPr>
          <p:spPr>
            <a:xfrm>
              <a:off x="6097494" y="0"/>
              <a:ext cx="2031004" cy="295275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350"/>
            </a:p>
          </p:txBody>
        </p:sp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BD43597E-3375-4562-9103-414EE87AFAC1}"/>
                </a:ext>
              </a:extLst>
            </p:cNvPr>
            <p:cNvSpPr/>
            <p:nvPr userDrawn="1"/>
          </p:nvSpPr>
          <p:spPr>
            <a:xfrm>
              <a:off x="8128498" y="0"/>
              <a:ext cx="2031004" cy="295275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350"/>
            </a:p>
          </p:txBody>
        </p:sp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id="{1CA23AB8-0798-4776-A398-C2FDD716DEEF}"/>
                </a:ext>
              </a:extLst>
            </p:cNvPr>
            <p:cNvSpPr/>
            <p:nvPr userDrawn="1"/>
          </p:nvSpPr>
          <p:spPr>
            <a:xfrm>
              <a:off x="10159502" y="0"/>
              <a:ext cx="2031004" cy="295275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350"/>
            </a:p>
          </p:txBody>
        </p:sp>
      </p:grpSp>
      <p:sp>
        <p:nvSpPr>
          <p:cNvPr id="25" name="Text Placeholder 6">
            <a:extLst>
              <a:ext uri="{FF2B5EF4-FFF2-40B4-BE49-F238E27FC236}">
                <a16:creationId xmlns:a16="http://schemas.microsoft.com/office/drawing/2014/main" id="{97DAAF0C-93A3-48BC-A621-F6D9E7E8E9A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57404" y="6547763"/>
            <a:ext cx="7052072" cy="120610"/>
          </a:xfrm>
        </p:spPr>
        <p:txBody>
          <a:bodyPr vert="horz" wrap="square" lIns="0" tIns="0" rIns="0" bIns="0" rtlCol="0" anchor="b">
            <a:spAutoFit/>
          </a:bodyPr>
          <a:lstStyle>
            <a:lvl1pPr marL="0" indent="0">
              <a:buNone/>
              <a:defRPr lang="en-US" sz="750" dirty="0" smtClean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lang="en-US" sz="1050" dirty="0" smtClean="0">
                <a:latin typeface="+mj-lt"/>
              </a:defRPr>
            </a:lvl2pPr>
            <a:lvl3pPr>
              <a:defRPr lang="en-US" sz="1050" dirty="0" smtClean="0">
                <a:latin typeface="+mj-lt"/>
              </a:defRPr>
            </a:lvl3pPr>
            <a:lvl4pPr>
              <a:defRPr lang="en-US" sz="1050" dirty="0" smtClean="0">
                <a:latin typeface="+mj-lt"/>
              </a:defRPr>
            </a:lvl4pPr>
            <a:lvl5pPr>
              <a:defRPr lang="en-GB" sz="1050" dirty="0">
                <a:latin typeface="+mj-lt"/>
              </a:defRPr>
            </a:lvl5pPr>
          </a:lstStyle>
          <a:p>
            <a:pPr marL="171446" lvl="0" indent="-171446">
              <a:lnSpc>
                <a:spcPct val="110000"/>
              </a:lnSpc>
              <a:spcBef>
                <a:spcPts val="0"/>
              </a:spcBef>
              <a:spcAft>
                <a:spcPts val="225"/>
              </a:spcAft>
            </a:pPr>
            <a:r>
              <a:rPr lang="en-US" dirty="0"/>
              <a:t>SOURCE:</a:t>
            </a:r>
          </a:p>
        </p:txBody>
      </p:sp>
      <p:pic>
        <p:nvPicPr>
          <p:cNvPr id="26" name="Picture 25" descr="ALMA">
            <a:extLst>
              <a:ext uri="{FF2B5EF4-FFF2-40B4-BE49-F238E27FC236}">
                <a16:creationId xmlns:a16="http://schemas.microsoft.com/office/drawing/2014/main" id="{4AE31DC4-03E8-4C5C-94D5-1D7A2C0FA32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305637" y="6368553"/>
            <a:ext cx="680959" cy="2998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2954409"/>
      </p:ext>
    </p:extLst>
  </p:cSld>
  <p:clrMapOvr>
    <a:masterClrMapping/>
  </p:clrMapOvr>
  <p:hf hdr="0" ftr="0" dt="0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ontent &gt; 3 O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42927" y="445020"/>
            <a:ext cx="1857375" cy="872547"/>
          </a:xfrm>
        </p:spPr>
        <p:txBody>
          <a:bodyPr wrap="square" lIns="0" tIns="0" rIns="0" bIns="0" anchor="t">
            <a:spAutoFit/>
          </a:bodyPr>
          <a:lstStyle>
            <a:lvl1pPr>
              <a:defRPr sz="2100" b="1" baseline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542929" y="3668527"/>
            <a:ext cx="2413109" cy="778996"/>
          </a:xfr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10000"/>
              </a:lnSpc>
              <a:spcBef>
                <a:spcPts val="0"/>
              </a:spcBef>
              <a:spcAft>
                <a:spcPts val="225"/>
              </a:spcAft>
              <a:buNone/>
              <a:defRPr sz="1050">
                <a:latin typeface="+mj-lt"/>
              </a:defRPr>
            </a:lvl1pPr>
            <a:lvl2pPr marL="171446" indent="-171446">
              <a:lnSpc>
                <a:spcPct val="110000"/>
              </a:lnSpc>
              <a:spcBef>
                <a:spcPts val="0"/>
              </a:spcBef>
              <a:spcAft>
                <a:spcPts val="225"/>
              </a:spcAft>
              <a:defRPr sz="1050">
                <a:latin typeface="+mj-lt"/>
              </a:defRPr>
            </a:lvl2pPr>
            <a:lvl3pPr marL="342892" indent="-171446">
              <a:lnSpc>
                <a:spcPct val="110000"/>
              </a:lnSpc>
              <a:spcBef>
                <a:spcPts val="0"/>
              </a:spcBef>
              <a:spcAft>
                <a:spcPts val="225"/>
              </a:spcAft>
              <a:defRPr sz="1050">
                <a:latin typeface="+mj-lt"/>
              </a:defRPr>
            </a:lvl3pPr>
            <a:lvl4pPr marL="514337" indent="-171446">
              <a:lnSpc>
                <a:spcPct val="110000"/>
              </a:lnSpc>
              <a:spcBef>
                <a:spcPts val="0"/>
              </a:spcBef>
              <a:spcAft>
                <a:spcPts val="225"/>
              </a:spcAft>
              <a:defRPr sz="1050">
                <a:latin typeface="+mj-lt"/>
              </a:defRPr>
            </a:lvl4pPr>
            <a:lvl5pPr>
              <a:defRPr sz="1050">
                <a:latin typeface="+mj-lt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6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3387282" y="3668527"/>
            <a:ext cx="2413109" cy="778996"/>
          </a:xfr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10000"/>
              </a:lnSpc>
              <a:spcBef>
                <a:spcPts val="0"/>
              </a:spcBef>
              <a:spcAft>
                <a:spcPts val="225"/>
              </a:spcAft>
              <a:buNone/>
              <a:defRPr sz="1050">
                <a:latin typeface="+mj-lt"/>
              </a:defRPr>
            </a:lvl1pPr>
            <a:lvl2pPr marL="171446" indent="-171446">
              <a:lnSpc>
                <a:spcPct val="110000"/>
              </a:lnSpc>
              <a:spcBef>
                <a:spcPts val="0"/>
              </a:spcBef>
              <a:spcAft>
                <a:spcPts val="225"/>
              </a:spcAft>
              <a:defRPr sz="1050">
                <a:latin typeface="+mj-lt"/>
              </a:defRPr>
            </a:lvl2pPr>
            <a:lvl3pPr marL="342892" indent="-171446">
              <a:lnSpc>
                <a:spcPct val="110000"/>
              </a:lnSpc>
              <a:spcBef>
                <a:spcPts val="0"/>
              </a:spcBef>
              <a:spcAft>
                <a:spcPts val="225"/>
              </a:spcAft>
              <a:defRPr sz="1050">
                <a:latin typeface="+mj-lt"/>
              </a:defRPr>
            </a:lvl3pPr>
            <a:lvl4pPr marL="514337" indent="-171446">
              <a:lnSpc>
                <a:spcPct val="110000"/>
              </a:lnSpc>
              <a:spcBef>
                <a:spcPts val="0"/>
              </a:spcBef>
              <a:spcAft>
                <a:spcPts val="225"/>
              </a:spcAft>
              <a:defRPr sz="1050">
                <a:latin typeface="+mj-lt"/>
              </a:defRPr>
            </a:lvl4pPr>
            <a:lvl5pPr>
              <a:defRPr sz="1050">
                <a:latin typeface="+mj-lt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7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6231634" y="3668527"/>
            <a:ext cx="2413109" cy="778996"/>
          </a:xfr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10000"/>
              </a:lnSpc>
              <a:spcBef>
                <a:spcPts val="0"/>
              </a:spcBef>
              <a:spcAft>
                <a:spcPts val="225"/>
              </a:spcAft>
              <a:buNone/>
              <a:defRPr sz="1050">
                <a:latin typeface="+mj-lt"/>
              </a:defRPr>
            </a:lvl1pPr>
            <a:lvl2pPr marL="171446" indent="-171446">
              <a:lnSpc>
                <a:spcPct val="110000"/>
              </a:lnSpc>
              <a:spcBef>
                <a:spcPts val="0"/>
              </a:spcBef>
              <a:spcAft>
                <a:spcPts val="225"/>
              </a:spcAft>
              <a:defRPr sz="1050">
                <a:latin typeface="+mj-lt"/>
              </a:defRPr>
            </a:lvl2pPr>
            <a:lvl3pPr marL="342892" indent="-171446">
              <a:lnSpc>
                <a:spcPct val="110000"/>
              </a:lnSpc>
              <a:spcBef>
                <a:spcPts val="0"/>
              </a:spcBef>
              <a:spcAft>
                <a:spcPts val="225"/>
              </a:spcAft>
              <a:defRPr sz="1050">
                <a:latin typeface="+mj-lt"/>
              </a:defRPr>
            </a:lvl3pPr>
            <a:lvl4pPr marL="514337" indent="-171446">
              <a:lnSpc>
                <a:spcPct val="110000"/>
              </a:lnSpc>
              <a:spcBef>
                <a:spcPts val="0"/>
              </a:spcBef>
              <a:spcAft>
                <a:spcPts val="225"/>
              </a:spcAft>
              <a:defRPr sz="1050">
                <a:latin typeface="+mj-lt"/>
              </a:defRPr>
            </a:lvl4pPr>
            <a:lvl5pPr>
              <a:defRPr sz="1050">
                <a:latin typeface="+mj-lt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3" hasCustomPrompt="1"/>
          </p:nvPr>
        </p:nvSpPr>
        <p:spPr>
          <a:xfrm>
            <a:off x="542926" y="2188818"/>
            <a:ext cx="686786" cy="506292"/>
          </a:xfrm>
        </p:spPr>
        <p:txBody>
          <a:bodyPr vert="horz" wrap="square" lIns="0" tIns="0" rIns="0" bIns="0" rtlCol="0">
            <a:spAutoFit/>
          </a:bodyPr>
          <a:lstStyle>
            <a:lvl1pPr marL="0" indent="0">
              <a:buNone/>
              <a:defRPr lang="en-GB" sz="3150" b="0" dirty="0">
                <a:solidFill>
                  <a:schemeClr val="tx1">
                    <a:lumMod val="75000"/>
                    <a:lumOff val="25000"/>
                  </a:schemeClr>
                </a:solidFill>
                <a:latin typeface="Arial Black" panose="020B0A04020102020204" pitchFamily="34" charset="0"/>
              </a:defRPr>
            </a:lvl1pPr>
          </a:lstStyle>
          <a:p>
            <a:pPr marL="171446" lvl="0" indent="-171446">
              <a:lnSpc>
                <a:spcPct val="110000"/>
              </a:lnSpc>
              <a:spcAft>
                <a:spcPts val="225"/>
              </a:spcAft>
            </a:pPr>
            <a:r>
              <a:rPr lang="en-US" dirty="0"/>
              <a:t>01</a:t>
            </a:r>
            <a:endParaRPr lang="en-GB" dirty="0"/>
          </a:p>
        </p:txBody>
      </p:sp>
      <p:sp>
        <p:nvSpPr>
          <p:cNvPr id="19" name="Text Placeholder 17"/>
          <p:cNvSpPr>
            <a:spLocks noGrp="1"/>
          </p:cNvSpPr>
          <p:nvPr>
            <p:ph type="body" sz="quarter" idx="14" hasCustomPrompt="1"/>
          </p:nvPr>
        </p:nvSpPr>
        <p:spPr>
          <a:xfrm>
            <a:off x="3387280" y="2188818"/>
            <a:ext cx="686786" cy="506292"/>
          </a:xfrm>
        </p:spPr>
        <p:txBody>
          <a:bodyPr vert="horz" wrap="square" lIns="0" tIns="0" rIns="0" bIns="0" rtlCol="0">
            <a:spAutoFit/>
          </a:bodyPr>
          <a:lstStyle>
            <a:lvl1pPr marL="0" indent="0">
              <a:buNone/>
              <a:defRPr lang="en-GB" sz="3150" b="0" dirty="0">
                <a:solidFill>
                  <a:schemeClr val="tx1">
                    <a:lumMod val="75000"/>
                    <a:lumOff val="25000"/>
                  </a:schemeClr>
                </a:solidFill>
                <a:latin typeface="Arial Black" panose="020B0A04020102020204" pitchFamily="34" charset="0"/>
              </a:defRPr>
            </a:lvl1pPr>
          </a:lstStyle>
          <a:p>
            <a:pPr marL="171446" lvl="0" indent="-171446">
              <a:lnSpc>
                <a:spcPct val="110000"/>
              </a:lnSpc>
              <a:spcAft>
                <a:spcPts val="225"/>
              </a:spcAft>
            </a:pPr>
            <a:r>
              <a:rPr lang="en-US" dirty="0"/>
              <a:t>02</a:t>
            </a:r>
            <a:endParaRPr lang="en-GB" dirty="0"/>
          </a:p>
        </p:txBody>
      </p:sp>
      <p:sp>
        <p:nvSpPr>
          <p:cNvPr id="20" name="Text Placeholder 17"/>
          <p:cNvSpPr>
            <a:spLocks noGrp="1"/>
          </p:cNvSpPr>
          <p:nvPr>
            <p:ph type="body" sz="quarter" idx="15" hasCustomPrompt="1"/>
          </p:nvPr>
        </p:nvSpPr>
        <p:spPr>
          <a:xfrm>
            <a:off x="6231631" y="2188818"/>
            <a:ext cx="686786" cy="506292"/>
          </a:xfrm>
        </p:spPr>
        <p:txBody>
          <a:bodyPr vert="horz" wrap="square" lIns="0" tIns="0" rIns="0" bIns="0" rtlCol="0">
            <a:spAutoFit/>
          </a:bodyPr>
          <a:lstStyle>
            <a:lvl1pPr marL="0" indent="0">
              <a:buNone/>
              <a:defRPr lang="en-GB" sz="3150" b="0" dirty="0">
                <a:solidFill>
                  <a:schemeClr val="tx1">
                    <a:lumMod val="75000"/>
                    <a:lumOff val="25000"/>
                  </a:schemeClr>
                </a:solidFill>
                <a:latin typeface="Arial Black" panose="020B0A04020102020204" pitchFamily="34" charset="0"/>
              </a:defRPr>
            </a:lvl1pPr>
          </a:lstStyle>
          <a:p>
            <a:pPr marL="171446" lvl="0" indent="-171446">
              <a:lnSpc>
                <a:spcPct val="110000"/>
              </a:lnSpc>
              <a:spcAft>
                <a:spcPts val="225"/>
              </a:spcAft>
            </a:pPr>
            <a:r>
              <a:rPr lang="en-US" dirty="0"/>
              <a:t>03</a:t>
            </a:r>
            <a:endParaRPr lang="en-GB" dirty="0"/>
          </a:p>
        </p:txBody>
      </p:sp>
      <p:sp>
        <p:nvSpPr>
          <p:cNvPr id="22" name="Text Placeholder 21"/>
          <p:cNvSpPr>
            <a:spLocks noGrp="1"/>
          </p:cNvSpPr>
          <p:nvPr>
            <p:ph type="body" sz="quarter" idx="16"/>
          </p:nvPr>
        </p:nvSpPr>
        <p:spPr>
          <a:xfrm>
            <a:off x="542929" y="3165658"/>
            <a:ext cx="2413397" cy="163956"/>
          </a:xfrm>
        </p:spPr>
        <p:txBody>
          <a:bodyPr vert="horz" wrap="square" lIns="0" tIns="0" rIns="0" bIns="0" rtlCol="0">
            <a:spAutoFit/>
          </a:bodyPr>
          <a:lstStyle>
            <a:lvl1pPr marL="0" indent="0">
              <a:buNone/>
              <a:defRPr lang="en-GB" sz="1050" b="1" dirty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171446" lvl="0" indent="-171446">
              <a:lnSpc>
                <a:spcPct val="110000"/>
              </a:lnSpc>
              <a:spcAft>
                <a:spcPts val="225"/>
              </a:spcAft>
            </a:pPr>
            <a:r>
              <a:rPr lang="en-US"/>
              <a:t>Edit Master text styles</a:t>
            </a:r>
          </a:p>
        </p:txBody>
      </p:sp>
      <p:sp>
        <p:nvSpPr>
          <p:cNvPr id="23" name="Text Placeholder 21"/>
          <p:cNvSpPr>
            <a:spLocks noGrp="1"/>
          </p:cNvSpPr>
          <p:nvPr>
            <p:ph type="body" sz="quarter" idx="17"/>
          </p:nvPr>
        </p:nvSpPr>
        <p:spPr>
          <a:xfrm>
            <a:off x="3387282" y="3165658"/>
            <a:ext cx="2413397" cy="163956"/>
          </a:xfrm>
        </p:spPr>
        <p:txBody>
          <a:bodyPr vert="horz" wrap="square" lIns="0" tIns="0" rIns="0" bIns="0" rtlCol="0">
            <a:spAutoFit/>
          </a:bodyPr>
          <a:lstStyle>
            <a:lvl1pPr marL="0" indent="0">
              <a:buNone/>
              <a:defRPr lang="en-GB" sz="1050" b="1" dirty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171446" lvl="0" indent="-171446">
              <a:lnSpc>
                <a:spcPct val="110000"/>
              </a:lnSpc>
              <a:spcAft>
                <a:spcPts val="225"/>
              </a:spcAft>
            </a:pPr>
            <a:r>
              <a:rPr lang="en-US"/>
              <a:t>Edit Master text styles</a:t>
            </a:r>
          </a:p>
        </p:txBody>
      </p:sp>
      <p:sp>
        <p:nvSpPr>
          <p:cNvPr id="24" name="Text Placeholder 21"/>
          <p:cNvSpPr>
            <a:spLocks noGrp="1"/>
          </p:cNvSpPr>
          <p:nvPr>
            <p:ph type="body" sz="quarter" idx="18"/>
          </p:nvPr>
        </p:nvSpPr>
        <p:spPr>
          <a:xfrm>
            <a:off x="6231346" y="3165658"/>
            <a:ext cx="2413397" cy="163956"/>
          </a:xfrm>
        </p:spPr>
        <p:txBody>
          <a:bodyPr vert="horz" wrap="square" lIns="0" tIns="0" rIns="0" bIns="0" rtlCol="0">
            <a:spAutoFit/>
          </a:bodyPr>
          <a:lstStyle>
            <a:lvl1pPr marL="0" indent="0">
              <a:buNone/>
              <a:defRPr lang="en-GB" sz="1050" b="1" dirty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171446" lvl="0" indent="-171446">
              <a:lnSpc>
                <a:spcPct val="110000"/>
              </a:lnSpc>
              <a:spcAft>
                <a:spcPts val="225"/>
              </a:spcAft>
            </a:pPr>
            <a:r>
              <a:rPr lang="en-US"/>
              <a:t>Edit Master text styles</a:t>
            </a:r>
          </a:p>
        </p:txBody>
      </p:sp>
      <p:grpSp>
        <p:nvGrpSpPr>
          <p:cNvPr id="26" name="Group 25">
            <a:extLst>
              <a:ext uri="{FF2B5EF4-FFF2-40B4-BE49-F238E27FC236}">
                <a16:creationId xmlns:a16="http://schemas.microsoft.com/office/drawing/2014/main" id="{0DF37B18-1129-4E15-A84D-338D2A0C231C}"/>
              </a:ext>
            </a:extLst>
          </p:cNvPr>
          <p:cNvGrpSpPr/>
          <p:nvPr userDrawn="1"/>
        </p:nvGrpSpPr>
        <p:grpSpPr>
          <a:xfrm>
            <a:off x="1120" y="6781800"/>
            <a:ext cx="9142880" cy="76200"/>
            <a:chOff x="0" y="0"/>
            <a:chExt cx="12190506" cy="295275"/>
          </a:xfrm>
        </p:grpSpPr>
        <p:sp>
          <p:nvSpPr>
            <p:cNvPr id="27" name="Rectangle 26">
              <a:extLst>
                <a:ext uri="{FF2B5EF4-FFF2-40B4-BE49-F238E27FC236}">
                  <a16:creationId xmlns:a16="http://schemas.microsoft.com/office/drawing/2014/main" id="{AFB37D1E-D07A-4DC8-A489-51AFC9514FD4}"/>
                </a:ext>
              </a:extLst>
            </p:cNvPr>
            <p:cNvSpPr/>
            <p:nvPr userDrawn="1"/>
          </p:nvSpPr>
          <p:spPr>
            <a:xfrm>
              <a:off x="0" y="0"/>
              <a:ext cx="6096000" cy="295275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350"/>
            </a:p>
          </p:txBody>
        </p:sp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41A78ED0-D09F-4B8D-826D-9664B4835F3A}"/>
                </a:ext>
              </a:extLst>
            </p:cNvPr>
            <p:cNvSpPr/>
            <p:nvPr userDrawn="1"/>
          </p:nvSpPr>
          <p:spPr>
            <a:xfrm>
              <a:off x="6097494" y="0"/>
              <a:ext cx="2031004" cy="295275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350"/>
            </a:p>
          </p:txBody>
        </p:sp>
        <p:sp>
          <p:nvSpPr>
            <p:cNvPr id="29" name="Rectangle 28">
              <a:extLst>
                <a:ext uri="{FF2B5EF4-FFF2-40B4-BE49-F238E27FC236}">
                  <a16:creationId xmlns:a16="http://schemas.microsoft.com/office/drawing/2014/main" id="{2F19D070-72B0-409D-8A49-BF030A8BC0BB}"/>
                </a:ext>
              </a:extLst>
            </p:cNvPr>
            <p:cNvSpPr/>
            <p:nvPr userDrawn="1"/>
          </p:nvSpPr>
          <p:spPr>
            <a:xfrm>
              <a:off x="8128498" y="0"/>
              <a:ext cx="2031004" cy="295275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350"/>
            </a:p>
          </p:txBody>
        </p:sp>
        <p:sp>
          <p:nvSpPr>
            <p:cNvPr id="30" name="Rectangle 29">
              <a:extLst>
                <a:ext uri="{FF2B5EF4-FFF2-40B4-BE49-F238E27FC236}">
                  <a16:creationId xmlns:a16="http://schemas.microsoft.com/office/drawing/2014/main" id="{DAF89657-4C1D-4FF7-8569-020C662EFE0C}"/>
                </a:ext>
              </a:extLst>
            </p:cNvPr>
            <p:cNvSpPr/>
            <p:nvPr userDrawn="1"/>
          </p:nvSpPr>
          <p:spPr>
            <a:xfrm>
              <a:off x="10159502" y="0"/>
              <a:ext cx="2031004" cy="295275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350"/>
            </a:p>
          </p:txBody>
        </p:sp>
      </p:grpSp>
      <p:sp>
        <p:nvSpPr>
          <p:cNvPr id="31" name="Text Placeholder 6">
            <a:extLst>
              <a:ext uri="{FF2B5EF4-FFF2-40B4-BE49-F238E27FC236}">
                <a16:creationId xmlns:a16="http://schemas.microsoft.com/office/drawing/2014/main" id="{62E2135C-68A4-4094-87BD-7E0E7C686E8A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57404" y="6547763"/>
            <a:ext cx="7052072" cy="120610"/>
          </a:xfrm>
        </p:spPr>
        <p:txBody>
          <a:bodyPr vert="horz" wrap="square" lIns="0" tIns="0" rIns="0" bIns="0" rtlCol="0" anchor="b">
            <a:spAutoFit/>
          </a:bodyPr>
          <a:lstStyle>
            <a:lvl1pPr marL="0" indent="0">
              <a:buNone/>
              <a:defRPr lang="en-US" sz="750" dirty="0" smtClean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lang="en-US" sz="1050" dirty="0" smtClean="0">
                <a:latin typeface="+mj-lt"/>
              </a:defRPr>
            </a:lvl2pPr>
            <a:lvl3pPr>
              <a:defRPr lang="en-US" sz="1050" dirty="0" smtClean="0">
                <a:latin typeface="+mj-lt"/>
              </a:defRPr>
            </a:lvl3pPr>
            <a:lvl4pPr>
              <a:defRPr lang="en-US" sz="1050" dirty="0" smtClean="0">
                <a:latin typeface="+mj-lt"/>
              </a:defRPr>
            </a:lvl4pPr>
            <a:lvl5pPr>
              <a:defRPr lang="en-GB" sz="1050" dirty="0">
                <a:latin typeface="+mj-lt"/>
              </a:defRPr>
            </a:lvl5pPr>
          </a:lstStyle>
          <a:p>
            <a:pPr marL="171446" lvl="0" indent="-171446">
              <a:lnSpc>
                <a:spcPct val="110000"/>
              </a:lnSpc>
              <a:spcBef>
                <a:spcPts val="0"/>
              </a:spcBef>
              <a:spcAft>
                <a:spcPts val="225"/>
              </a:spcAft>
            </a:pPr>
            <a:r>
              <a:rPr lang="en-US" dirty="0"/>
              <a:t>SOURCE:</a:t>
            </a:r>
          </a:p>
        </p:txBody>
      </p:sp>
      <p:pic>
        <p:nvPicPr>
          <p:cNvPr id="32" name="Picture 31" descr="ALMA">
            <a:extLst>
              <a:ext uri="{FF2B5EF4-FFF2-40B4-BE49-F238E27FC236}">
                <a16:creationId xmlns:a16="http://schemas.microsoft.com/office/drawing/2014/main" id="{4897EC9E-D9D4-4D19-9B8F-2BAEA4D241E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305637" y="6368553"/>
            <a:ext cx="680959" cy="2998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77212734"/>
      </p:ext>
    </p:extLst>
  </p:cSld>
  <p:clrMapOvr>
    <a:masterClrMapping/>
  </p:clrMapOvr>
  <p:hf hdr="0" ftr="0" dt="0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&gt; 4 O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42927" y="445020"/>
            <a:ext cx="1857375" cy="872547"/>
          </a:xfrm>
        </p:spPr>
        <p:txBody>
          <a:bodyPr wrap="square" lIns="0" tIns="0" rIns="0" bIns="0" anchor="t">
            <a:spAutoFit/>
          </a:bodyPr>
          <a:lstStyle>
            <a:lvl1pPr>
              <a:defRPr sz="2100" b="1" baseline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1410032" y="2589294"/>
            <a:ext cx="2413109" cy="168829"/>
          </a:xfrm>
        </p:spPr>
        <p:txBody>
          <a:bodyPr vert="horz" wrap="square" lIns="0" tIns="0" rIns="0" bIns="0" rtlCol="0">
            <a:spAutoFit/>
          </a:bodyPr>
          <a:lstStyle>
            <a:lvl1pPr marL="0" indent="0">
              <a:buNone/>
              <a:defRPr lang="en-US" sz="1050" dirty="0" smtClean="0">
                <a:latin typeface="+mj-lt"/>
              </a:defRPr>
            </a:lvl1pPr>
          </a:lstStyle>
          <a:p>
            <a:pPr marL="171446" lvl="0" indent="-171446">
              <a:lnSpc>
                <a:spcPct val="110000"/>
              </a:lnSpc>
              <a:spcBef>
                <a:spcPts val="0"/>
              </a:spcBef>
              <a:spcAft>
                <a:spcPts val="225"/>
              </a:spcAft>
            </a:pPr>
            <a:r>
              <a:rPr lang="en-US"/>
              <a:t>Edit Master text styles</a:t>
            </a:r>
          </a:p>
        </p:txBody>
      </p:sp>
      <p:sp>
        <p:nvSpPr>
          <p:cNvPr id="16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5753096" y="2589294"/>
            <a:ext cx="2413109" cy="168829"/>
          </a:xfrm>
        </p:spPr>
        <p:txBody>
          <a:bodyPr vert="horz" wrap="square" lIns="0" tIns="0" rIns="0" bIns="0" rtlCol="0">
            <a:spAutoFit/>
          </a:bodyPr>
          <a:lstStyle>
            <a:lvl1pPr marL="0" indent="0">
              <a:buNone/>
              <a:defRPr lang="en-US" sz="1050" dirty="0" smtClean="0">
                <a:latin typeface="+mj-lt"/>
              </a:defRPr>
            </a:lvl1pPr>
          </a:lstStyle>
          <a:p>
            <a:pPr marL="171446" lvl="0" indent="-171446">
              <a:lnSpc>
                <a:spcPct val="110000"/>
              </a:lnSpc>
              <a:spcBef>
                <a:spcPts val="0"/>
              </a:spcBef>
              <a:spcAft>
                <a:spcPts val="225"/>
              </a:spcAft>
            </a:pPr>
            <a:r>
              <a:rPr lang="en-US"/>
              <a:t>Edit Master text styles</a:t>
            </a:r>
          </a:p>
        </p:txBody>
      </p:sp>
      <p:sp>
        <p:nvSpPr>
          <p:cNvPr id="17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1410032" y="4461413"/>
            <a:ext cx="2413109" cy="168829"/>
          </a:xfrm>
        </p:spPr>
        <p:txBody>
          <a:bodyPr vert="horz" wrap="square" lIns="0" tIns="0" rIns="0" bIns="0" rtlCol="0">
            <a:spAutoFit/>
          </a:bodyPr>
          <a:lstStyle>
            <a:lvl1pPr marL="0" indent="0">
              <a:buNone/>
              <a:defRPr lang="en-US" sz="1050" dirty="0" smtClean="0">
                <a:latin typeface="+mj-lt"/>
              </a:defRPr>
            </a:lvl1pPr>
          </a:lstStyle>
          <a:p>
            <a:pPr marL="171446" lvl="0" indent="-171446">
              <a:lnSpc>
                <a:spcPct val="110000"/>
              </a:lnSpc>
              <a:spcBef>
                <a:spcPts val="0"/>
              </a:spcBef>
              <a:spcAft>
                <a:spcPts val="225"/>
              </a:spcAft>
            </a:pPr>
            <a:r>
              <a:rPr lang="en-US"/>
              <a:t>Edit Master text styles</a:t>
            </a:r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3" hasCustomPrompt="1"/>
          </p:nvPr>
        </p:nvSpPr>
        <p:spPr>
          <a:xfrm>
            <a:off x="542926" y="2188818"/>
            <a:ext cx="686786" cy="506292"/>
          </a:xfrm>
        </p:spPr>
        <p:txBody>
          <a:bodyPr vert="horz" wrap="square" lIns="0" tIns="0" rIns="0" bIns="0" rtlCol="0">
            <a:spAutoFit/>
          </a:bodyPr>
          <a:lstStyle>
            <a:lvl1pPr marL="0" indent="0">
              <a:buNone/>
              <a:defRPr lang="en-GB" sz="3150" b="0" dirty="0">
                <a:solidFill>
                  <a:schemeClr val="tx1">
                    <a:lumMod val="75000"/>
                    <a:lumOff val="25000"/>
                  </a:schemeClr>
                </a:solidFill>
                <a:latin typeface="Arial Black" panose="020B0A04020102020204" pitchFamily="34" charset="0"/>
              </a:defRPr>
            </a:lvl1pPr>
          </a:lstStyle>
          <a:p>
            <a:pPr marL="171446" lvl="0" indent="-171446">
              <a:lnSpc>
                <a:spcPct val="110000"/>
              </a:lnSpc>
              <a:spcAft>
                <a:spcPts val="225"/>
              </a:spcAft>
            </a:pPr>
            <a:r>
              <a:rPr lang="en-US" dirty="0"/>
              <a:t>01</a:t>
            </a:r>
            <a:endParaRPr lang="en-GB" dirty="0"/>
          </a:p>
        </p:txBody>
      </p:sp>
      <p:sp>
        <p:nvSpPr>
          <p:cNvPr id="19" name="Text Placeholder 17"/>
          <p:cNvSpPr>
            <a:spLocks noGrp="1"/>
          </p:cNvSpPr>
          <p:nvPr>
            <p:ph type="body" sz="quarter" idx="14" hasCustomPrompt="1"/>
          </p:nvPr>
        </p:nvSpPr>
        <p:spPr>
          <a:xfrm>
            <a:off x="4899613" y="2188818"/>
            <a:ext cx="686786" cy="506292"/>
          </a:xfrm>
        </p:spPr>
        <p:txBody>
          <a:bodyPr vert="horz" wrap="square" lIns="0" tIns="0" rIns="0" bIns="0" rtlCol="0">
            <a:spAutoFit/>
          </a:bodyPr>
          <a:lstStyle>
            <a:lvl1pPr marL="0" indent="0">
              <a:buNone/>
              <a:defRPr lang="en-GB" sz="3150" b="0" dirty="0">
                <a:solidFill>
                  <a:schemeClr val="tx1">
                    <a:lumMod val="75000"/>
                    <a:lumOff val="25000"/>
                  </a:schemeClr>
                </a:solidFill>
                <a:latin typeface="Arial Black" panose="020B0A04020102020204" pitchFamily="34" charset="0"/>
              </a:defRPr>
            </a:lvl1pPr>
          </a:lstStyle>
          <a:p>
            <a:pPr marL="171446" lvl="0" indent="-171446">
              <a:lnSpc>
                <a:spcPct val="110000"/>
              </a:lnSpc>
              <a:spcAft>
                <a:spcPts val="225"/>
              </a:spcAft>
            </a:pPr>
            <a:r>
              <a:rPr lang="en-US" dirty="0"/>
              <a:t>02</a:t>
            </a:r>
            <a:endParaRPr lang="en-GB" dirty="0"/>
          </a:p>
        </p:txBody>
      </p:sp>
      <p:sp>
        <p:nvSpPr>
          <p:cNvPr id="20" name="Text Placeholder 17"/>
          <p:cNvSpPr>
            <a:spLocks noGrp="1"/>
          </p:cNvSpPr>
          <p:nvPr>
            <p:ph type="body" sz="quarter" idx="15" hasCustomPrompt="1"/>
          </p:nvPr>
        </p:nvSpPr>
        <p:spPr>
          <a:xfrm>
            <a:off x="542926" y="4028128"/>
            <a:ext cx="686786" cy="506292"/>
          </a:xfrm>
        </p:spPr>
        <p:txBody>
          <a:bodyPr vert="horz" wrap="square" lIns="0" tIns="0" rIns="0" bIns="0" rtlCol="0">
            <a:spAutoFit/>
          </a:bodyPr>
          <a:lstStyle>
            <a:lvl1pPr marL="0" indent="0">
              <a:buNone/>
              <a:defRPr lang="en-GB" sz="3150" b="0" dirty="0">
                <a:solidFill>
                  <a:schemeClr val="tx1">
                    <a:lumMod val="75000"/>
                    <a:lumOff val="25000"/>
                  </a:schemeClr>
                </a:solidFill>
                <a:latin typeface="Arial Black" panose="020B0A04020102020204" pitchFamily="34" charset="0"/>
              </a:defRPr>
            </a:lvl1pPr>
          </a:lstStyle>
          <a:p>
            <a:pPr marL="171446" lvl="0" indent="-171446">
              <a:lnSpc>
                <a:spcPct val="110000"/>
              </a:lnSpc>
              <a:spcAft>
                <a:spcPts val="225"/>
              </a:spcAft>
            </a:pPr>
            <a:r>
              <a:rPr lang="en-US" dirty="0"/>
              <a:t>03</a:t>
            </a:r>
            <a:endParaRPr lang="en-GB" dirty="0"/>
          </a:p>
        </p:txBody>
      </p:sp>
      <p:sp>
        <p:nvSpPr>
          <p:cNvPr id="22" name="Text Placeholder 21"/>
          <p:cNvSpPr>
            <a:spLocks noGrp="1"/>
          </p:cNvSpPr>
          <p:nvPr>
            <p:ph type="body" sz="quarter" idx="16"/>
          </p:nvPr>
        </p:nvSpPr>
        <p:spPr>
          <a:xfrm>
            <a:off x="1410032" y="2188813"/>
            <a:ext cx="2413397" cy="163956"/>
          </a:xfrm>
        </p:spPr>
        <p:txBody>
          <a:bodyPr vert="horz" wrap="square" lIns="0" tIns="0" rIns="0" bIns="0" rtlCol="0">
            <a:spAutoFit/>
          </a:bodyPr>
          <a:lstStyle>
            <a:lvl1pPr marL="0" indent="0">
              <a:buNone/>
              <a:defRPr lang="en-GB" sz="1050" b="1" dirty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171446" lvl="0" indent="-171446">
              <a:lnSpc>
                <a:spcPct val="110000"/>
              </a:lnSpc>
              <a:spcAft>
                <a:spcPts val="225"/>
              </a:spcAft>
            </a:pPr>
            <a:r>
              <a:rPr lang="en-US"/>
              <a:t>Edit Master text styles</a:t>
            </a:r>
          </a:p>
        </p:txBody>
      </p:sp>
      <p:sp>
        <p:nvSpPr>
          <p:cNvPr id="23" name="Text Placeholder 21"/>
          <p:cNvSpPr>
            <a:spLocks noGrp="1"/>
          </p:cNvSpPr>
          <p:nvPr>
            <p:ph type="body" sz="quarter" idx="17"/>
          </p:nvPr>
        </p:nvSpPr>
        <p:spPr>
          <a:xfrm>
            <a:off x="5753096" y="2188813"/>
            <a:ext cx="2413397" cy="163956"/>
          </a:xfrm>
        </p:spPr>
        <p:txBody>
          <a:bodyPr vert="horz" wrap="square" lIns="0" tIns="0" rIns="0" bIns="0" rtlCol="0">
            <a:spAutoFit/>
          </a:bodyPr>
          <a:lstStyle>
            <a:lvl1pPr marL="0" indent="0">
              <a:buNone/>
              <a:defRPr lang="en-GB" sz="1050" b="1" dirty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171446" lvl="0" indent="-171446">
              <a:lnSpc>
                <a:spcPct val="110000"/>
              </a:lnSpc>
              <a:spcAft>
                <a:spcPts val="225"/>
              </a:spcAft>
            </a:pPr>
            <a:r>
              <a:rPr lang="en-US"/>
              <a:t>Edit Master text styles</a:t>
            </a:r>
          </a:p>
        </p:txBody>
      </p:sp>
      <p:sp>
        <p:nvSpPr>
          <p:cNvPr id="24" name="Text Placeholder 21"/>
          <p:cNvSpPr>
            <a:spLocks noGrp="1"/>
          </p:cNvSpPr>
          <p:nvPr>
            <p:ph type="body" sz="quarter" idx="18"/>
          </p:nvPr>
        </p:nvSpPr>
        <p:spPr>
          <a:xfrm>
            <a:off x="1410032" y="4025417"/>
            <a:ext cx="2413397" cy="163956"/>
          </a:xfrm>
        </p:spPr>
        <p:txBody>
          <a:bodyPr vert="horz" wrap="square" lIns="0" tIns="0" rIns="0" bIns="0" rtlCol="0">
            <a:spAutoFit/>
          </a:bodyPr>
          <a:lstStyle>
            <a:lvl1pPr marL="0" indent="0">
              <a:buNone/>
              <a:defRPr lang="en-GB" sz="1050" b="1" dirty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171446" lvl="0" indent="-171446">
              <a:lnSpc>
                <a:spcPct val="110000"/>
              </a:lnSpc>
              <a:spcAft>
                <a:spcPts val="225"/>
              </a:spcAft>
            </a:pPr>
            <a:r>
              <a:rPr lang="en-US"/>
              <a:t>Edit Master text styles</a:t>
            </a:r>
          </a:p>
        </p:txBody>
      </p:sp>
      <p:sp>
        <p:nvSpPr>
          <p:cNvPr id="21" name="Text Placeholder 5"/>
          <p:cNvSpPr>
            <a:spLocks noGrp="1"/>
          </p:cNvSpPr>
          <p:nvPr>
            <p:ph type="body" sz="quarter" idx="19"/>
          </p:nvPr>
        </p:nvSpPr>
        <p:spPr>
          <a:xfrm>
            <a:off x="5766720" y="4461413"/>
            <a:ext cx="2413109" cy="168829"/>
          </a:xfrm>
        </p:spPr>
        <p:txBody>
          <a:bodyPr vert="horz" wrap="square" lIns="0" tIns="0" rIns="0" bIns="0" rtlCol="0">
            <a:spAutoFit/>
          </a:bodyPr>
          <a:lstStyle>
            <a:lvl1pPr marL="0" indent="0">
              <a:buNone/>
              <a:defRPr lang="en-US" sz="1050" dirty="0" smtClean="0">
                <a:latin typeface="+mj-lt"/>
              </a:defRPr>
            </a:lvl1pPr>
          </a:lstStyle>
          <a:p>
            <a:pPr marL="171446" lvl="0" indent="-171446">
              <a:lnSpc>
                <a:spcPct val="110000"/>
              </a:lnSpc>
              <a:spcBef>
                <a:spcPts val="0"/>
              </a:spcBef>
              <a:spcAft>
                <a:spcPts val="225"/>
              </a:spcAft>
            </a:pPr>
            <a:r>
              <a:rPr lang="en-US"/>
              <a:t>Edit Master text styles</a:t>
            </a:r>
          </a:p>
        </p:txBody>
      </p:sp>
      <p:sp>
        <p:nvSpPr>
          <p:cNvPr id="25" name="Text Placeholder 17"/>
          <p:cNvSpPr>
            <a:spLocks noGrp="1"/>
          </p:cNvSpPr>
          <p:nvPr>
            <p:ph type="body" sz="quarter" idx="20" hasCustomPrompt="1"/>
          </p:nvPr>
        </p:nvSpPr>
        <p:spPr>
          <a:xfrm>
            <a:off x="4899613" y="4028128"/>
            <a:ext cx="686786" cy="506292"/>
          </a:xfrm>
        </p:spPr>
        <p:txBody>
          <a:bodyPr vert="horz" wrap="square" lIns="0" tIns="0" rIns="0" bIns="0" rtlCol="0">
            <a:spAutoFit/>
          </a:bodyPr>
          <a:lstStyle>
            <a:lvl1pPr marL="0" indent="0">
              <a:buNone/>
              <a:defRPr lang="en-GB" sz="3150" b="0" dirty="0">
                <a:solidFill>
                  <a:schemeClr val="tx1">
                    <a:lumMod val="75000"/>
                    <a:lumOff val="25000"/>
                  </a:schemeClr>
                </a:solidFill>
                <a:latin typeface="Arial Black" panose="020B0A04020102020204" pitchFamily="34" charset="0"/>
              </a:defRPr>
            </a:lvl1pPr>
          </a:lstStyle>
          <a:p>
            <a:pPr marL="171446" lvl="0" indent="-171446">
              <a:lnSpc>
                <a:spcPct val="110000"/>
              </a:lnSpc>
              <a:spcAft>
                <a:spcPts val="225"/>
              </a:spcAft>
            </a:pPr>
            <a:r>
              <a:rPr lang="en-US" dirty="0"/>
              <a:t>04</a:t>
            </a:r>
            <a:endParaRPr lang="en-GB" dirty="0"/>
          </a:p>
        </p:txBody>
      </p:sp>
      <p:sp>
        <p:nvSpPr>
          <p:cNvPr id="26" name="Text Placeholder 21"/>
          <p:cNvSpPr>
            <a:spLocks noGrp="1"/>
          </p:cNvSpPr>
          <p:nvPr>
            <p:ph type="body" sz="quarter" idx="21"/>
          </p:nvPr>
        </p:nvSpPr>
        <p:spPr>
          <a:xfrm>
            <a:off x="5766720" y="4025417"/>
            <a:ext cx="2413397" cy="163956"/>
          </a:xfrm>
        </p:spPr>
        <p:txBody>
          <a:bodyPr vert="horz" wrap="square" lIns="0" tIns="0" rIns="0" bIns="0" rtlCol="0">
            <a:spAutoFit/>
          </a:bodyPr>
          <a:lstStyle>
            <a:lvl1pPr marL="0" indent="0">
              <a:buNone/>
              <a:defRPr lang="en-GB" sz="1050" b="1" dirty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171446" lvl="0" indent="-171446">
              <a:lnSpc>
                <a:spcPct val="110000"/>
              </a:lnSpc>
              <a:spcAft>
                <a:spcPts val="225"/>
              </a:spcAft>
            </a:pPr>
            <a:r>
              <a:rPr lang="en-US"/>
              <a:t>Edit Master text styles</a:t>
            </a:r>
          </a:p>
        </p:txBody>
      </p:sp>
      <p:grpSp>
        <p:nvGrpSpPr>
          <p:cNvPr id="29" name="Group 28">
            <a:extLst>
              <a:ext uri="{FF2B5EF4-FFF2-40B4-BE49-F238E27FC236}">
                <a16:creationId xmlns:a16="http://schemas.microsoft.com/office/drawing/2014/main" id="{D3B0CB92-BF5F-407A-BFA5-06B671DEE466}"/>
              </a:ext>
            </a:extLst>
          </p:cNvPr>
          <p:cNvGrpSpPr/>
          <p:nvPr userDrawn="1"/>
        </p:nvGrpSpPr>
        <p:grpSpPr>
          <a:xfrm>
            <a:off x="1120" y="6781800"/>
            <a:ext cx="9142880" cy="76200"/>
            <a:chOff x="0" y="0"/>
            <a:chExt cx="12190506" cy="295275"/>
          </a:xfrm>
        </p:grpSpPr>
        <p:sp>
          <p:nvSpPr>
            <p:cNvPr id="30" name="Rectangle 29">
              <a:extLst>
                <a:ext uri="{FF2B5EF4-FFF2-40B4-BE49-F238E27FC236}">
                  <a16:creationId xmlns:a16="http://schemas.microsoft.com/office/drawing/2014/main" id="{CFA80A86-5D9F-4DFC-9D1E-D45912DE54C5}"/>
                </a:ext>
              </a:extLst>
            </p:cNvPr>
            <p:cNvSpPr/>
            <p:nvPr userDrawn="1"/>
          </p:nvSpPr>
          <p:spPr>
            <a:xfrm>
              <a:off x="0" y="0"/>
              <a:ext cx="6096000" cy="295275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350"/>
            </a:p>
          </p:txBody>
        </p:sp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52A7E6BB-2D87-4594-AD19-04F595470912}"/>
                </a:ext>
              </a:extLst>
            </p:cNvPr>
            <p:cNvSpPr/>
            <p:nvPr userDrawn="1"/>
          </p:nvSpPr>
          <p:spPr>
            <a:xfrm>
              <a:off x="6097494" y="0"/>
              <a:ext cx="2031004" cy="295275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350"/>
            </a:p>
          </p:txBody>
        </p:sp>
        <p:sp>
          <p:nvSpPr>
            <p:cNvPr id="32" name="Rectangle 31">
              <a:extLst>
                <a:ext uri="{FF2B5EF4-FFF2-40B4-BE49-F238E27FC236}">
                  <a16:creationId xmlns:a16="http://schemas.microsoft.com/office/drawing/2014/main" id="{965266C1-919B-446B-A0A0-A6E84B2892A7}"/>
                </a:ext>
              </a:extLst>
            </p:cNvPr>
            <p:cNvSpPr/>
            <p:nvPr userDrawn="1"/>
          </p:nvSpPr>
          <p:spPr>
            <a:xfrm>
              <a:off x="8128498" y="0"/>
              <a:ext cx="2031004" cy="295275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350"/>
            </a:p>
          </p:txBody>
        </p:sp>
        <p:sp>
          <p:nvSpPr>
            <p:cNvPr id="33" name="Rectangle 32">
              <a:extLst>
                <a:ext uri="{FF2B5EF4-FFF2-40B4-BE49-F238E27FC236}">
                  <a16:creationId xmlns:a16="http://schemas.microsoft.com/office/drawing/2014/main" id="{71D9F41E-48BE-4B43-B231-64352E3E1B85}"/>
                </a:ext>
              </a:extLst>
            </p:cNvPr>
            <p:cNvSpPr/>
            <p:nvPr userDrawn="1"/>
          </p:nvSpPr>
          <p:spPr>
            <a:xfrm>
              <a:off x="10159502" y="0"/>
              <a:ext cx="2031004" cy="295275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350"/>
            </a:p>
          </p:txBody>
        </p:sp>
      </p:grpSp>
      <p:sp>
        <p:nvSpPr>
          <p:cNvPr id="34" name="Text Placeholder 6">
            <a:extLst>
              <a:ext uri="{FF2B5EF4-FFF2-40B4-BE49-F238E27FC236}">
                <a16:creationId xmlns:a16="http://schemas.microsoft.com/office/drawing/2014/main" id="{CE6C81B1-639F-41D2-A294-81E9B2F6D7AC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157404" y="6547763"/>
            <a:ext cx="7052072" cy="120610"/>
          </a:xfrm>
        </p:spPr>
        <p:txBody>
          <a:bodyPr vert="horz" wrap="square" lIns="0" tIns="0" rIns="0" bIns="0" rtlCol="0" anchor="b">
            <a:spAutoFit/>
          </a:bodyPr>
          <a:lstStyle>
            <a:lvl1pPr marL="0" indent="0">
              <a:buNone/>
              <a:defRPr lang="en-US" sz="750" dirty="0" smtClean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lang="en-US" sz="1050" dirty="0" smtClean="0">
                <a:latin typeface="+mj-lt"/>
              </a:defRPr>
            </a:lvl2pPr>
            <a:lvl3pPr>
              <a:defRPr lang="en-US" sz="1050" dirty="0" smtClean="0">
                <a:latin typeface="+mj-lt"/>
              </a:defRPr>
            </a:lvl3pPr>
            <a:lvl4pPr>
              <a:defRPr lang="en-US" sz="1050" dirty="0" smtClean="0">
                <a:latin typeface="+mj-lt"/>
              </a:defRPr>
            </a:lvl4pPr>
            <a:lvl5pPr>
              <a:defRPr lang="en-GB" sz="1050" dirty="0">
                <a:latin typeface="+mj-lt"/>
              </a:defRPr>
            </a:lvl5pPr>
          </a:lstStyle>
          <a:p>
            <a:pPr marL="171446" lvl="0" indent="-171446">
              <a:lnSpc>
                <a:spcPct val="110000"/>
              </a:lnSpc>
              <a:spcBef>
                <a:spcPts val="0"/>
              </a:spcBef>
              <a:spcAft>
                <a:spcPts val="225"/>
              </a:spcAft>
            </a:pPr>
            <a:r>
              <a:rPr lang="en-US" dirty="0"/>
              <a:t>SOURCE:</a:t>
            </a:r>
          </a:p>
        </p:txBody>
      </p:sp>
      <p:pic>
        <p:nvPicPr>
          <p:cNvPr id="35" name="Picture 34" descr="ALMA">
            <a:extLst>
              <a:ext uri="{FF2B5EF4-FFF2-40B4-BE49-F238E27FC236}">
                <a16:creationId xmlns:a16="http://schemas.microsoft.com/office/drawing/2014/main" id="{A40E405A-1CA2-478D-8FA7-7BA8CFD1C97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305637" y="6368553"/>
            <a:ext cx="680959" cy="2998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38238877"/>
      </p:ext>
    </p:extLst>
  </p:cSld>
  <p:clrMapOvr>
    <a:masterClrMapping/>
  </p:clrMapOvr>
  <p:hf hdr="0" ftr="0" dt="0"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&gt; 6 O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42927" y="445020"/>
            <a:ext cx="1857375" cy="872547"/>
          </a:xfrm>
        </p:spPr>
        <p:txBody>
          <a:bodyPr wrap="square" lIns="0" tIns="0" rIns="0" bIns="0" anchor="t">
            <a:spAutoFit/>
          </a:bodyPr>
          <a:lstStyle>
            <a:lvl1pPr>
              <a:defRPr sz="2100" b="1" baseline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1410032" y="2347556"/>
            <a:ext cx="2413109" cy="168829"/>
          </a:xfrm>
        </p:spPr>
        <p:txBody>
          <a:bodyPr vert="horz" wrap="square" lIns="0" tIns="0" rIns="0" bIns="0" rtlCol="0">
            <a:spAutoFit/>
          </a:bodyPr>
          <a:lstStyle>
            <a:lvl1pPr marL="0" indent="0">
              <a:buNone/>
              <a:defRPr lang="en-US" sz="1050" dirty="0" smtClean="0">
                <a:latin typeface="+mj-lt"/>
              </a:defRPr>
            </a:lvl1pPr>
          </a:lstStyle>
          <a:p>
            <a:pPr marL="171446" lvl="0" indent="-171446">
              <a:lnSpc>
                <a:spcPct val="110000"/>
              </a:lnSpc>
              <a:spcBef>
                <a:spcPts val="0"/>
              </a:spcBef>
              <a:spcAft>
                <a:spcPts val="225"/>
              </a:spcAft>
            </a:pPr>
            <a:r>
              <a:rPr lang="en-US"/>
              <a:t>Edit Master text styles</a:t>
            </a:r>
          </a:p>
        </p:txBody>
      </p:sp>
      <p:sp>
        <p:nvSpPr>
          <p:cNvPr id="16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5753096" y="2347556"/>
            <a:ext cx="2413109" cy="168829"/>
          </a:xfrm>
        </p:spPr>
        <p:txBody>
          <a:bodyPr vert="horz" wrap="square" lIns="0" tIns="0" rIns="0" bIns="0" rtlCol="0">
            <a:spAutoFit/>
          </a:bodyPr>
          <a:lstStyle>
            <a:lvl1pPr marL="0" indent="0">
              <a:buNone/>
              <a:defRPr lang="en-US" sz="1050" dirty="0" smtClean="0">
                <a:latin typeface="+mj-lt"/>
              </a:defRPr>
            </a:lvl1pPr>
          </a:lstStyle>
          <a:p>
            <a:pPr marL="171446" lvl="0" indent="-171446">
              <a:lnSpc>
                <a:spcPct val="110000"/>
              </a:lnSpc>
              <a:spcBef>
                <a:spcPts val="0"/>
              </a:spcBef>
              <a:spcAft>
                <a:spcPts val="225"/>
              </a:spcAft>
            </a:pPr>
            <a:r>
              <a:rPr lang="en-US"/>
              <a:t>Edit Master text styles</a:t>
            </a:r>
          </a:p>
        </p:txBody>
      </p:sp>
      <p:sp>
        <p:nvSpPr>
          <p:cNvPr id="17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1410032" y="3824388"/>
            <a:ext cx="2413109" cy="168829"/>
          </a:xfrm>
        </p:spPr>
        <p:txBody>
          <a:bodyPr vert="horz" wrap="square" lIns="0" tIns="0" rIns="0" bIns="0" rtlCol="0">
            <a:spAutoFit/>
          </a:bodyPr>
          <a:lstStyle>
            <a:lvl1pPr marL="0" indent="0">
              <a:buNone/>
              <a:defRPr lang="en-US" sz="1050" dirty="0" smtClean="0">
                <a:latin typeface="+mj-lt"/>
              </a:defRPr>
            </a:lvl1pPr>
          </a:lstStyle>
          <a:p>
            <a:pPr marL="171446" lvl="0" indent="-171446">
              <a:lnSpc>
                <a:spcPct val="110000"/>
              </a:lnSpc>
              <a:spcBef>
                <a:spcPts val="0"/>
              </a:spcBef>
              <a:spcAft>
                <a:spcPts val="225"/>
              </a:spcAft>
            </a:pPr>
            <a:r>
              <a:rPr lang="en-US"/>
              <a:t>Edit Master text styles</a:t>
            </a:r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3" hasCustomPrompt="1"/>
          </p:nvPr>
        </p:nvSpPr>
        <p:spPr>
          <a:xfrm>
            <a:off x="542926" y="1947080"/>
            <a:ext cx="686786" cy="506292"/>
          </a:xfrm>
        </p:spPr>
        <p:txBody>
          <a:bodyPr vert="horz" wrap="square" lIns="0" tIns="0" rIns="0" bIns="0" rtlCol="0">
            <a:spAutoFit/>
          </a:bodyPr>
          <a:lstStyle>
            <a:lvl1pPr marL="0" indent="0" algn="r">
              <a:buNone/>
              <a:defRPr lang="en-GB" sz="3150" b="0" dirty="0">
                <a:solidFill>
                  <a:schemeClr val="tx1">
                    <a:lumMod val="75000"/>
                    <a:lumOff val="25000"/>
                  </a:schemeClr>
                </a:solidFill>
                <a:latin typeface="Arial Black" panose="020B0A04020102020204" pitchFamily="34" charset="0"/>
              </a:defRPr>
            </a:lvl1pPr>
          </a:lstStyle>
          <a:p>
            <a:pPr marL="171446" lvl="0" indent="-171446">
              <a:lnSpc>
                <a:spcPct val="110000"/>
              </a:lnSpc>
              <a:spcAft>
                <a:spcPts val="225"/>
              </a:spcAft>
            </a:pPr>
            <a:r>
              <a:rPr lang="en-US" dirty="0"/>
              <a:t>01</a:t>
            </a:r>
            <a:endParaRPr lang="en-GB" dirty="0"/>
          </a:p>
        </p:txBody>
      </p:sp>
      <p:sp>
        <p:nvSpPr>
          <p:cNvPr id="19" name="Text Placeholder 17"/>
          <p:cNvSpPr>
            <a:spLocks noGrp="1"/>
          </p:cNvSpPr>
          <p:nvPr>
            <p:ph type="body" sz="quarter" idx="14" hasCustomPrompt="1"/>
          </p:nvPr>
        </p:nvSpPr>
        <p:spPr>
          <a:xfrm>
            <a:off x="4899613" y="1947080"/>
            <a:ext cx="686786" cy="506292"/>
          </a:xfrm>
        </p:spPr>
        <p:txBody>
          <a:bodyPr vert="horz" wrap="square" lIns="0" tIns="0" rIns="0" bIns="0" rtlCol="0">
            <a:spAutoFit/>
          </a:bodyPr>
          <a:lstStyle>
            <a:lvl1pPr marL="0" indent="0" algn="r">
              <a:buNone/>
              <a:defRPr lang="en-GB" sz="3150" b="0" dirty="0">
                <a:solidFill>
                  <a:schemeClr val="tx1">
                    <a:lumMod val="75000"/>
                    <a:lumOff val="25000"/>
                  </a:schemeClr>
                </a:solidFill>
                <a:latin typeface="Arial Black" panose="020B0A04020102020204" pitchFamily="34" charset="0"/>
              </a:defRPr>
            </a:lvl1pPr>
          </a:lstStyle>
          <a:p>
            <a:pPr marL="171446" lvl="0" indent="-171446">
              <a:lnSpc>
                <a:spcPct val="110000"/>
              </a:lnSpc>
              <a:spcAft>
                <a:spcPts val="225"/>
              </a:spcAft>
            </a:pPr>
            <a:r>
              <a:rPr lang="en-US" dirty="0"/>
              <a:t>02</a:t>
            </a:r>
            <a:endParaRPr lang="en-GB" dirty="0"/>
          </a:p>
        </p:txBody>
      </p:sp>
      <p:sp>
        <p:nvSpPr>
          <p:cNvPr id="20" name="Text Placeholder 17"/>
          <p:cNvSpPr>
            <a:spLocks noGrp="1"/>
          </p:cNvSpPr>
          <p:nvPr>
            <p:ph type="body" sz="quarter" idx="15" hasCustomPrompt="1"/>
          </p:nvPr>
        </p:nvSpPr>
        <p:spPr>
          <a:xfrm>
            <a:off x="542926" y="3391100"/>
            <a:ext cx="686786" cy="506292"/>
          </a:xfrm>
        </p:spPr>
        <p:txBody>
          <a:bodyPr vert="horz" wrap="square" lIns="0" tIns="0" rIns="0" bIns="0" rtlCol="0">
            <a:spAutoFit/>
          </a:bodyPr>
          <a:lstStyle>
            <a:lvl1pPr marL="0" indent="0" algn="r">
              <a:buNone/>
              <a:defRPr lang="en-GB" sz="3150" b="0" dirty="0">
                <a:solidFill>
                  <a:schemeClr val="tx1">
                    <a:lumMod val="75000"/>
                    <a:lumOff val="25000"/>
                  </a:schemeClr>
                </a:solidFill>
                <a:latin typeface="Arial Black" panose="020B0A04020102020204" pitchFamily="34" charset="0"/>
              </a:defRPr>
            </a:lvl1pPr>
          </a:lstStyle>
          <a:p>
            <a:pPr marL="171446" lvl="0" indent="-171446">
              <a:lnSpc>
                <a:spcPct val="110000"/>
              </a:lnSpc>
              <a:spcAft>
                <a:spcPts val="225"/>
              </a:spcAft>
            </a:pPr>
            <a:r>
              <a:rPr lang="en-US" dirty="0"/>
              <a:t>03</a:t>
            </a:r>
            <a:endParaRPr lang="en-GB" dirty="0"/>
          </a:p>
        </p:txBody>
      </p:sp>
      <p:sp>
        <p:nvSpPr>
          <p:cNvPr id="22" name="Text Placeholder 21"/>
          <p:cNvSpPr>
            <a:spLocks noGrp="1"/>
          </p:cNvSpPr>
          <p:nvPr>
            <p:ph type="body" sz="quarter" idx="16"/>
          </p:nvPr>
        </p:nvSpPr>
        <p:spPr>
          <a:xfrm>
            <a:off x="1410032" y="1947075"/>
            <a:ext cx="2413397" cy="163956"/>
          </a:xfrm>
        </p:spPr>
        <p:txBody>
          <a:bodyPr vert="horz" wrap="square" lIns="0" tIns="0" rIns="0" bIns="0" rtlCol="0">
            <a:spAutoFit/>
          </a:bodyPr>
          <a:lstStyle>
            <a:lvl1pPr marL="0" indent="0">
              <a:buNone/>
              <a:defRPr lang="en-GB" sz="1050" b="1" dirty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171446" lvl="0" indent="-171446">
              <a:lnSpc>
                <a:spcPct val="110000"/>
              </a:lnSpc>
              <a:spcAft>
                <a:spcPts val="225"/>
              </a:spcAft>
            </a:pPr>
            <a:r>
              <a:rPr lang="en-US"/>
              <a:t>Edit Master text styles</a:t>
            </a:r>
          </a:p>
        </p:txBody>
      </p:sp>
      <p:sp>
        <p:nvSpPr>
          <p:cNvPr id="23" name="Text Placeholder 21"/>
          <p:cNvSpPr>
            <a:spLocks noGrp="1"/>
          </p:cNvSpPr>
          <p:nvPr>
            <p:ph type="body" sz="quarter" idx="17"/>
          </p:nvPr>
        </p:nvSpPr>
        <p:spPr>
          <a:xfrm>
            <a:off x="5753096" y="1947075"/>
            <a:ext cx="2413397" cy="163956"/>
          </a:xfrm>
        </p:spPr>
        <p:txBody>
          <a:bodyPr vert="horz" wrap="square" lIns="0" tIns="0" rIns="0" bIns="0" rtlCol="0">
            <a:spAutoFit/>
          </a:bodyPr>
          <a:lstStyle>
            <a:lvl1pPr marL="0" indent="0">
              <a:buNone/>
              <a:defRPr lang="en-GB" sz="1050" b="1" dirty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171446" lvl="0" indent="-171446">
              <a:lnSpc>
                <a:spcPct val="110000"/>
              </a:lnSpc>
              <a:spcAft>
                <a:spcPts val="225"/>
              </a:spcAft>
            </a:pPr>
            <a:r>
              <a:rPr lang="en-US"/>
              <a:t>Edit Master text styles</a:t>
            </a:r>
          </a:p>
        </p:txBody>
      </p:sp>
      <p:sp>
        <p:nvSpPr>
          <p:cNvPr id="24" name="Text Placeholder 21"/>
          <p:cNvSpPr>
            <a:spLocks noGrp="1"/>
          </p:cNvSpPr>
          <p:nvPr>
            <p:ph type="body" sz="quarter" idx="18"/>
          </p:nvPr>
        </p:nvSpPr>
        <p:spPr>
          <a:xfrm>
            <a:off x="1410032" y="3388392"/>
            <a:ext cx="2413397" cy="163956"/>
          </a:xfrm>
        </p:spPr>
        <p:txBody>
          <a:bodyPr vert="horz" wrap="square" lIns="0" tIns="0" rIns="0" bIns="0" rtlCol="0">
            <a:spAutoFit/>
          </a:bodyPr>
          <a:lstStyle>
            <a:lvl1pPr marL="0" indent="0">
              <a:buNone/>
              <a:defRPr lang="en-GB" sz="1050" b="1" dirty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171446" lvl="0" indent="-171446">
              <a:lnSpc>
                <a:spcPct val="110000"/>
              </a:lnSpc>
              <a:spcAft>
                <a:spcPts val="225"/>
              </a:spcAft>
            </a:pPr>
            <a:r>
              <a:rPr lang="en-US"/>
              <a:t>Edit Master text styles</a:t>
            </a:r>
          </a:p>
        </p:txBody>
      </p:sp>
      <p:sp>
        <p:nvSpPr>
          <p:cNvPr id="21" name="Text Placeholder 5"/>
          <p:cNvSpPr>
            <a:spLocks noGrp="1"/>
          </p:cNvSpPr>
          <p:nvPr>
            <p:ph type="body" sz="quarter" idx="19"/>
          </p:nvPr>
        </p:nvSpPr>
        <p:spPr>
          <a:xfrm>
            <a:off x="5766720" y="3824388"/>
            <a:ext cx="2413109" cy="168829"/>
          </a:xfrm>
        </p:spPr>
        <p:txBody>
          <a:bodyPr vert="horz" wrap="square" lIns="0" tIns="0" rIns="0" bIns="0" rtlCol="0">
            <a:spAutoFit/>
          </a:bodyPr>
          <a:lstStyle>
            <a:lvl1pPr marL="0" indent="0">
              <a:buNone/>
              <a:defRPr lang="en-US" sz="1050" dirty="0" smtClean="0">
                <a:latin typeface="+mj-lt"/>
              </a:defRPr>
            </a:lvl1pPr>
          </a:lstStyle>
          <a:p>
            <a:pPr marL="171446" lvl="0" indent="-171446">
              <a:lnSpc>
                <a:spcPct val="110000"/>
              </a:lnSpc>
              <a:spcBef>
                <a:spcPts val="0"/>
              </a:spcBef>
              <a:spcAft>
                <a:spcPts val="225"/>
              </a:spcAft>
            </a:pPr>
            <a:r>
              <a:rPr lang="en-US"/>
              <a:t>Edit Master text styles</a:t>
            </a:r>
          </a:p>
        </p:txBody>
      </p:sp>
      <p:sp>
        <p:nvSpPr>
          <p:cNvPr id="25" name="Text Placeholder 17"/>
          <p:cNvSpPr>
            <a:spLocks noGrp="1"/>
          </p:cNvSpPr>
          <p:nvPr>
            <p:ph type="body" sz="quarter" idx="20" hasCustomPrompt="1"/>
          </p:nvPr>
        </p:nvSpPr>
        <p:spPr>
          <a:xfrm>
            <a:off x="4899613" y="3391100"/>
            <a:ext cx="686786" cy="506292"/>
          </a:xfrm>
        </p:spPr>
        <p:txBody>
          <a:bodyPr vert="horz" wrap="square" lIns="0" tIns="0" rIns="0" bIns="0" rtlCol="0">
            <a:spAutoFit/>
          </a:bodyPr>
          <a:lstStyle>
            <a:lvl1pPr marL="0" indent="0" algn="r">
              <a:buNone/>
              <a:defRPr lang="en-GB" sz="3150" b="0" dirty="0">
                <a:solidFill>
                  <a:schemeClr val="tx1">
                    <a:lumMod val="75000"/>
                    <a:lumOff val="25000"/>
                  </a:schemeClr>
                </a:solidFill>
                <a:latin typeface="Arial Black" panose="020B0A04020102020204" pitchFamily="34" charset="0"/>
              </a:defRPr>
            </a:lvl1pPr>
          </a:lstStyle>
          <a:p>
            <a:pPr marL="171446" lvl="0" indent="-171446">
              <a:lnSpc>
                <a:spcPct val="110000"/>
              </a:lnSpc>
              <a:spcAft>
                <a:spcPts val="225"/>
              </a:spcAft>
            </a:pPr>
            <a:r>
              <a:rPr lang="en-US" dirty="0"/>
              <a:t>04</a:t>
            </a:r>
            <a:endParaRPr lang="en-GB" dirty="0"/>
          </a:p>
        </p:txBody>
      </p:sp>
      <p:sp>
        <p:nvSpPr>
          <p:cNvPr id="26" name="Text Placeholder 21"/>
          <p:cNvSpPr>
            <a:spLocks noGrp="1"/>
          </p:cNvSpPr>
          <p:nvPr>
            <p:ph type="body" sz="quarter" idx="21"/>
          </p:nvPr>
        </p:nvSpPr>
        <p:spPr>
          <a:xfrm>
            <a:off x="5766720" y="3388392"/>
            <a:ext cx="2413397" cy="163956"/>
          </a:xfrm>
        </p:spPr>
        <p:txBody>
          <a:bodyPr vert="horz" wrap="square" lIns="0" tIns="0" rIns="0" bIns="0" rtlCol="0">
            <a:spAutoFit/>
          </a:bodyPr>
          <a:lstStyle>
            <a:lvl1pPr marL="0" indent="0">
              <a:buNone/>
              <a:defRPr lang="en-GB" sz="1050" b="1" dirty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171446" lvl="0" indent="-171446">
              <a:lnSpc>
                <a:spcPct val="110000"/>
              </a:lnSpc>
              <a:spcAft>
                <a:spcPts val="225"/>
              </a:spcAft>
            </a:pPr>
            <a:r>
              <a:rPr lang="en-US"/>
              <a:t>Edit Master text styles</a:t>
            </a:r>
          </a:p>
        </p:txBody>
      </p:sp>
      <p:sp>
        <p:nvSpPr>
          <p:cNvPr id="27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1410032" y="5218580"/>
            <a:ext cx="2413109" cy="168829"/>
          </a:xfrm>
        </p:spPr>
        <p:txBody>
          <a:bodyPr vert="horz" wrap="square" lIns="0" tIns="0" rIns="0" bIns="0" rtlCol="0">
            <a:spAutoFit/>
          </a:bodyPr>
          <a:lstStyle>
            <a:lvl1pPr marL="0" indent="0">
              <a:buNone/>
              <a:defRPr lang="en-US" sz="1050" dirty="0" smtClean="0">
                <a:latin typeface="+mj-lt"/>
              </a:defRPr>
            </a:lvl1pPr>
          </a:lstStyle>
          <a:p>
            <a:pPr marL="171446" lvl="0" indent="-171446">
              <a:lnSpc>
                <a:spcPct val="110000"/>
              </a:lnSpc>
              <a:spcBef>
                <a:spcPts val="0"/>
              </a:spcBef>
              <a:spcAft>
                <a:spcPts val="225"/>
              </a:spcAft>
            </a:pPr>
            <a:r>
              <a:rPr lang="en-US"/>
              <a:t>Edit Master text styles</a:t>
            </a:r>
          </a:p>
        </p:txBody>
      </p:sp>
      <p:sp>
        <p:nvSpPr>
          <p:cNvPr id="28" name="Text Placeholder 17"/>
          <p:cNvSpPr>
            <a:spLocks noGrp="1"/>
          </p:cNvSpPr>
          <p:nvPr>
            <p:ph type="body" sz="quarter" idx="23" hasCustomPrompt="1"/>
          </p:nvPr>
        </p:nvSpPr>
        <p:spPr>
          <a:xfrm>
            <a:off x="542926" y="4785295"/>
            <a:ext cx="686786" cy="506292"/>
          </a:xfrm>
        </p:spPr>
        <p:txBody>
          <a:bodyPr vert="horz" wrap="square" lIns="0" tIns="0" rIns="0" bIns="0" rtlCol="0">
            <a:spAutoFit/>
          </a:bodyPr>
          <a:lstStyle>
            <a:lvl1pPr marL="0" indent="0" algn="r">
              <a:buNone/>
              <a:defRPr lang="en-GB" sz="3150" b="0" dirty="0">
                <a:solidFill>
                  <a:schemeClr val="tx1">
                    <a:lumMod val="75000"/>
                    <a:lumOff val="25000"/>
                  </a:schemeClr>
                </a:solidFill>
                <a:latin typeface="Arial Black" panose="020B0A04020102020204" pitchFamily="34" charset="0"/>
              </a:defRPr>
            </a:lvl1pPr>
          </a:lstStyle>
          <a:p>
            <a:pPr marL="171446" lvl="0" indent="-171446">
              <a:lnSpc>
                <a:spcPct val="110000"/>
              </a:lnSpc>
              <a:spcAft>
                <a:spcPts val="225"/>
              </a:spcAft>
            </a:pPr>
            <a:r>
              <a:rPr lang="en-US" dirty="0"/>
              <a:t>05</a:t>
            </a:r>
            <a:endParaRPr lang="en-GB" dirty="0"/>
          </a:p>
        </p:txBody>
      </p:sp>
      <p:sp>
        <p:nvSpPr>
          <p:cNvPr id="29" name="Text Placeholder 21"/>
          <p:cNvSpPr>
            <a:spLocks noGrp="1"/>
          </p:cNvSpPr>
          <p:nvPr>
            <p:ph type="body" sz="quarter" idx="24"/>
          </p:nvPr>
        </p:nvSpPr>
        <p:spPr>
          <a:xfrm>
            <a:off x="1410032" y="4782584"/>
            <a:ext cx="2413397" cy="163956"/>
          </a:xfrm>
        </p:spPr>
        <p:txBody>
          <a:bodyPr vert="horz" wrap="square" lIns="0" tIns="0" rIns="0" bIns="0" rtlCol="0">
            <a:spAutoFit/>
          </a:bodyPr>
          <a:lstStyle>
            <a:lvl1pPr marL="0" indent="0">
              <a:buNone/>
              <a:defRPr lang="en-GB" sz="1050" b="1" dirty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171446" lvl="0" indent="-171446">
              <a:lnSpc>
                <a:spcPct val="110000"/>
              </a:lnSpc>
              <a:spcAft>
                <a:spcPts val="225"/>
              </a:spcAft>
            </a:pPr>
            <a:r>
              <a:rPr lang="en-US"/>
              <a:t>Edit Master text styles</a:t>
            </a:r>
          </a:p>
        </p:txBody>
      </p:sp>
      <p:sp>
        <p:nvSpPr>
          <p:cNvPr id="30" name="Text Placeholder 5"/>
          <p:cNvSpPr>
            <a:spLocks noGrp="1"/>
          </p:cNvSpPr>
          <p:nvPr>
            <p:ph type="body" sz="quarter" idx="25"/>
          </p:nvPr>
        </p:nvSpPr>
        <p:spPr>
          <a:xfrm>
            <a:off x="5766720" y="5218580"/>
            <a:ext cx="2413109" cy="168829"/>
          </a:xfrm>
        </p:spPr>
        <p:txBody>
          <a:bodyPr vert="horz" wrap="square" lIns="0" tIns="0" rIns="0" bIns="0" rtlCol="0">
            <a:spAutoFit/>
          </a:bodyPr>
          <a:lstStyle>
            <a:lvl1pPr marL="0" indent="0">
              <a:buNone/>
              <a:defRPr lang="en-US" sz="1050" dirty="0" smtClean="0">
                <a:latin typeface="+mj-lt"/>
              </a:defRPr>
            </a:lvl1pPr>
          </a:lstStyle>
          <a:p>
            <a:pPr marL="171446" lvl="0" indent="-171446">
              <a:lnSpc>
                <a:spcPct val="110000"/>
              </a:lnSpc>
              <a:spcBef>
                <a:spcPts val="0"/>
              </a:spcBef>
              <a:spcAft>
                <a:spcPts val="225"/>
              </a:spcAft>
            </a:pPr>
            <a:r>
              <a:rPr lang="en-US"/>
              <a:t>Edit Master text styles</a:t>
            </a:r>
          </a:p>
        </p:txBody>
      </p:sp>
      <p:sp>
        <p:nvSpPr>
          <p:cNvPr id="31" name="Text Placeholder 17"/>
          <p:cNvSpPr>
            <a:spLocks noGrp="1"/>
          </p:cNvSpPr>
          <p:nvPr>
            <p:ph type="body" sz="quarter" idx="26" hasCustomPrompt="1"/>
          </p:nvPr>
        </p:nvSpPr>
        <p:spPr>
          <a:xfrm>
            <a:off x="4899613" y="4785295"/>
            <a:ext cx="686786" cy="506292"/>
          </a:xfrm>
        </p:spPr>
        <p:txBody>
          <a:bodyPr vert="horz" wrap="square" lIns="0" tIns="0" rIns="0" bIns="0" rtlCol="0">
            <a:spAutoFit/>
          </a:bodyPr>
          <a:lstStyle>
            <a:lvl1pPr marL="0" indent="0" algn="r">
              <a:buNone/>
              <a:defRPr lang="en-GB" sz="3150" b="0" dirty="0">
                <a:solidFill>
                  <a:schemeClr val="tx1">
                    <a:lumMod val="75000"/>
                    <a:lumOff val="25000"/>
                  </a:schemeClr>
                </a:solidFill>
                <a:latin typeface="Arial Black" panose="020B0A04020102020204" pitchFamily="34" charset="0"/>
              </a:defRPr>
            </a:lvl1pPr>
          </a:lstStyle>
          <a:p>
            <a:pPr marL="171446" lvl="0" indent="-171446">
              <a:lnSpc>
                <a:spcPct val="110000"/>
              </a:lnSpc>
              <a:spcAft>
                <a:spcPts val="225"/>
              </a:spcAft>
            </a:pPr>
            <a:r>
              <a:rPr lang="en-US" dirty="0"/>
              <a:t>06</a:t>
            </a:r>
            <a:endParaRPr lang="en-GB" dirty="0"/>
          </a:p>
        </p:txBody>
      </p:sp>
      <p:sp>
        <p:nvSpPr>
          <p:cNvPr id="32" name="Text Placeholder 21"/>
          <p:cNvSpPr>
            <a:spLocks noGrp="1"/>
          </p:cNvSpPr>
          <p:nvPr>
            <p:ph type="body" sz="quarter" idx="27"/>
          </p:nvPr>
        </p:nvSpPr>
        <p:spPr>
          <a:xfrm>
            <a:off x="5766720" y="4782584"/>
            <a:ext cx="2413397" cy="163956"/>
          </a:xfrm>
        </p:spPr>
        <p:txBody>
          <a:bodyPr vert="horz" wrap="square" lIns="0" tIns="0" rIns="0" bIns="0" rtlCol="0">
            <a:spAutoFit/>
          </a:bodyPr>
          <a:lstStyle>
            <a:lvl1pPr marL="0" indent="0">
              <a:buNone/>
              <a:defRPr lang="en-GB" sz="1050" b="1" dirty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171446" lvl="0" indent="-171446">
              <a:lnSpc>
                <a:spcPct val="110000"/>
              </a:lnSpc>
              <a:spcAft>
                <a:spcPts val="225"/>
              </a:spcAft>
            </a:pPr>
            <a:r>
              <a:rPr lang="en-US"/>
              <a:t>Edit Master text styles</a:t>
            </a:r>
          </a:p>
        </p:txBody>
      </p:sp>
      <p:grpSp>
        <p:nvGrpSpPr>
          <p:cNvPr id="34" name="Group 33">
            <a:extLst>
              <a:ext uri="{FF2B5EF4-FFF2-40B4-BE49-F238E27FC236}">
                <a16:creationId xmlns:a16="http://schemas.microsoft.com/office/drawing/2014/main" id="{D3DC73A3-EF83-4B9C-A7D4-457CA610C346}"/>
              </a:ext>
            </a:extLst>
          </p:cNvPr>
          <p:cNvGrpSpPr/>
          <p:nvPr userDrawn="1"/>
        </p:nvGrpSpPr>
        <p:grpSpPr>
          <a:xfrm>
            <a:off x="1120" y="6781800"/>
            <a:ext cx="9142880" cy="76200"/>
            <a:chOff x="0" y="0"/>
            <a:chExt cx="12190506" cy="295275"/>
          </a:xfrm>
        </p:grpSpPr>
        <p:sp>
          <p:nvSpPr>
            <p:cNvPr id="35" name="Rectangle 34">
              <a:extLst>
                <a:ext uri="{FF2B5EF4-FFF2-40B4-BE49-F238E27FC236}">
                  <a16:creationId xmlns:a16="http://schemas.microsoft.com/office/drawing/2014/main" id="{54EC8B4B-9D2D-43F3-ADAC-BCCFE5089EE1}"/>
                </a:ext>
              </a:extLst>
            </p:cNvPr>
            <p:cNvSpPr/>
            <p:nvPr userDrawn="1"/>
          </p:nvSpPr>
          <p:spPr>
            <a:xfrm>
              <a:off x="0" y="0"/>
              <a:ext cx="6096000" cy="295275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350"/>
            </a:p>
          </p:txBody>
        </p:sp>
        <p:sp>
          <p:nvSpPr>
            <p:cNvPr id="36" name="Rectangle 35">
              <a:extLst>
                <a:ext uri="{FF2B5EF4-FFF2-40B4-BE49-F238E27FC236}">
                  <a16:creationId xmlns:a16="http://schemas.microsoft.com/office/drawing/2014/main" id="{4BDE0A46-745D-48B7-B696-C41CC4487FAC}"/>
                </a:ext>
              </a:extLst>
            </p:cNvPr>
            <p:cNvSpPr/>
            <p:nvPr userDrawn="1"/>
          </p:nvSpPr>
          <p:spPr>
            <a:xfrm>
              <a:off x="6097494" y="0"/>
              <a:ext cx="2031004" cy="295275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350"/>
            </a:p>
          </p:txBody>
        </p:sp>
        <p:sp>
          <p:nvSpPr>
            <p:cNvPr id="37" name="Rectangle 36">
              <a:extLst>
                <a:ext uri="{FF2B5EF4-FFF2-40B4-BE49-F238E27FC236}">
                  <a16:creationId xmlns:a16="http://schemas.microsoft.com/office/drawing/2014/main" id="{F8260FBB-906D-48CE-A2B3-D96181EFF5F7}"/>
                </a:ext>
              </a:extLst>
            </p:cNvPr>
            <p:cNvSpPr/>
            <p:nvPr userDrawn="1"/>
          </p:nvSpPr>
          <p:spPr>
            <a:xfrm>
              <a:off x="8128498" y="0"/>
              <a:ext cx="2031004" cy="295275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350"/>
            </a:p>
          </p:txBody>
        </p:sp>
        <p:sp>
          <p:nvSpPr>
            <p:cNvPr id="38" name="Rectangle 37">
              <a:extLst>
                <a:ext uri="{FF2B5EF4-FFF2-40B4-BE49-F238E27FC236}">
                  <a16:creationId xmlns:a16="http://schemas.microsoft.com/office/drawing/2014/main" id="{D39BADDF-831B-4464-A5E7-593586AFA335}"/>
                </a:ext>
              </a:extLst>
            </p:cNvPr>
            <p:cNvSpPr/>
            <p:nvPr userDrawn="1"/>
          </p:nvSpPr>
          <p:spPr>
            <a:xfrm>
              <a:off x="10159502" y="0"/>
              <a:ext cx="2031004" cy="295275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350"/>
            </a:p>
          </p:txBody>
        </p:sp>
      </p:grpSp>
      <p:sp>
        <p:nvSpPr>
          <p:cNvPr id="40" name="Text Placeholder 6">
            <a:extLst>
              <a:ext uri="{FF2B5EF4-FFF2-40B4-BE49-F238E27FC236}">
                <a16:creationId xmlns:a16="http://schemas.microsoft.com/office/drawing/2014/main" id="{D385B1B2-DDAA-4181-8717-3B9E3A143AB0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157404" y="6547763"/>
            <a:ext cx="7052072" cy="120610"/>
          </a:xfrm>
        </p:spPr>
        <p:txBody>
          <a:bodyPr vert="horz" wrap="square" lIns="0" tIns="0" rIns="0" bIns="0" rtlCol="0" anchor="b">
            <a:spAutoFit/>
          </a:bodyPr>
          <a:lstStyle>
            <a:lvl1pPr marL="0" indent="0">
              <a:buNone/>
              <a:defRPr lang="en-US" sz="750" dirty="0" smtClean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lang="en-US" sz="1050" dirty="0" smtClean="0">
                <a:latin typeface="+mj-lt"/>
              </a:defRPr>
            </a:lvl2pPr>
            <a:lvl3pPr>
              <a:defRPr lang="en-US" sz="1050" dirty="0" smtClean="0">
                <a:latin typeface="+mj-lt"/>
              </a:defRPr>
            </a:lvl3pPr>
            <a:lvl4pPr>
              <a:defRPr lang="en-US" sz="1050" dirty="0" smtClean="0">
                <a:latin typeface="+mj-lt"/>
              </a:defRPr>
            </a:lvl4pPr>
            <a:lvl5pPr>
              <a:defRPr lang="en-GB" sz="1050" dirty="0">
                <a:latin typeface="+mj-lt"/>
              </a:defRPr>
            </a:lvl5pPr>
          </a:lstStyle>
          <a:p>
            <a:pPr marL="171446" lvl="0" indent="-171446">
              <a:lnSpc>
                <a:spcPct val="110000"/>
              </a:lnSpc>
              <a:spcBef>
                <a:spcPts val="0"/>
              </a:spcBef>
              <a:spcAft>
                <a:spcPts val="225"/>
              </a:spcAft>
            </a:pPr>
            <a:r>
              <a:rPr lang="en-US" dirty="0"/>
              <a:t>SOURCE:</a:t>
            </a:r>
          </a:p>
        </p:txBody>
      </p:sp>
      <p:pic>
        <p:nvPicPr>
          <p:cNvPr id="41" name="Picture 40" descr="ALMA">
            <a:extLst>
              <a:ext uri="{FF2B5EF4-FFF2-40B4-BE49-F238E27FC236}">
                <a16:creationId xmlns:a16="http://schemas.microsoft.com/office/drawing/2014/main" id="{95AA00FB-DDE4-47FC-B326-577DD5015EC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305637" y="6368553"/>
            <a:ext cx="680959" cy="2998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88226854"/>
      </p:ext>
    </p:extLst>
  </p:cSld>
  <p:clrMapOvr>
    <a:masterClrMapping/>
  </p:clrMapOvr>
  <p:hf hdr="0" ftr="0" dt="0"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8"/>
          </p:nvPr>
        </p:nvSpPr>
        <p:spPr>
          <a:xfrm>
            <a:off x="1" y="76200"/>
            <a:ext cx="3043238" cy="67818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7" name="Picture Placeholder 5"/>
          <p:cNvSpPr>
            <a:spLocks noGrp="1"/>
          </p:cNvSpPr>
          <p:nvPr>
            <p:ph type="pic" sz="quarter" idx="19"/>
          </p:nvPr>
        </p:nvSpPr>
        <p:spPr>
          <a:xfrm>
            <a:off x="6095254" y="76200"/>
            <a:ext cx="3043238" cy="67818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49968" y="445020"/>
            <a:ext cx="1857375" cy="872547"/>
          </a:xfrm>
        </p:spPr>
        <p:txBody>
          <a:bodyPr wrap="square" lIns="0" tIns="0" rIns="0" bIns="0" anchor="t">
            <a:spAutoFit/>
          </a:bodyPr>
          <a:lstStyle>
            <a:lvl1pPr>
              <a:defRPr sz="2100" b="1" baseline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8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3261920" y="1872048"/>
            <a:ext cx="2642269" cy="778996"/>
          </a:xfr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10000"/>
              </a:lnSpc>
              <a:spcBef>
                <a:spcPts val="0"/>
              </a:spcBef>
              <a:spcAft>
                <a:spcPts val="225"/>
              </a:spcAft>
              <a:buNone/>
              <a:defRPr sz="1050">
                <a:latin typeface="+mj-lt"/>
              </a:defRPr>
            </a:lvl1pPr>
            <a:lvl2pPr marL="171446" indent="-171446">
              <a:lnSpc>
                <a:spcPct val="110000"/>
              </a:lnSpc>
              <a:spcBef>
                <a:spcPts val="0"/>
              </a:spcBef>
              <a:spcAft>
                <a:spcPts val="225"/>
              </a:spcAft>
              <a:defRPr sz="1050">
                <a:latin typeface="+mj-lt"/>
              </a:defRPr>
            </a:lvl2pPr>
            <a:lvl3pPr marL="342892" indent="-171446">
              <a:lnSpc>
                <a:spcPct val="110000"/>
              </a:lnSpc>
              <a:spcBef>
                <a:spcPts val="0"/>
              </a:spcBef>
              <a:spcAft>
                <a:spcPts val="225"/>
              </a:spcAft>
              <a:defRPr sz="1050">
                <a:latin typeface="+mj-lt"/>
              </a:defRPr>
            </a:lvl3pPr>
            <a:lvl4pPr marL="514337" indent="-171446">
              <a:lnSpc>
                <a:spcPct val="110000"/>
              </a:lnSpc>
              <a:spcBef>
                <a:spcPts val="0"/>
              </a:spcBef>
              <a:spcAft>
                <a:spcPts val="225"/>
              </a:spcAft>
              <a:defRPr sz="1050">
                <a:latin typeface="+mj-lt"/>
              </a:defRPr>
            </a:lvl4pPr>
            <a:lvl5pPr>
              <a:defRPr sz="1050">
                <a:latin typeface="+mj-lt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grpSp>
        <p:nvGrpSpPr>
          <p:cNvPr id="19" name="Group 18">
            <a:extLst>
              <a:ext uri="{FF2B5EF4-FFF2-40B4-BE49-F238E27FC236}">
                <a16:creationId xmlns:a16="http://schemas.microsoft.com/office/drawing/2014/main" id="{29C60A28-3041-4D0D-A403-EE07EFFDFA57}"/>
              </a:ext>
            </a:extLst>
          </p:cNvPr>
          <p:cNvGrpSpPr/>
          <p:nvPr userDrawn="1"/>
        </p:nvGrpSpPr>
        <p:grpSpPr>
          <a:xfrm>
            <a:off x="1120" y="6781800"/>
            <a:ext cx="9142880" cy="76200"/>
            <a:chOff x="0" y="0"/>
            <a:chExt cx="12190506" cy="295275"/>
          </a:xfrm>
        </p:grpSpPr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173B34B7-33DA-471C-8070-0C32F05123EF}"/>
                </a:ext>
              </a:extLst>
            </p:cNvPr>
            <p:cNvSpPr/>
            <p:nvPr userDrawn="1"/>
          </p:nvSpPr>
          <p:spPr>
            <a:xfrm>
              <a:off x="0" y="0"/>
              <a:ext cx="6096000" cy="295275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350"/>
            </a:p>
          </p:txBody>
        </p:sp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5AD42786-EE9D-45FF-9041-4BA9B0DA827B}"/>
                </a:ext>
              </a:extLst>
            </p:cNvPr>
            <p:cNvSpPr/>
            <p:nvPr userDrawn="1"/>
          </p:nvSpPr>
          <p:spPr>
            <a:xfrm>
              <a:off x="6097494" y="0"/>
              <a:ext cx="2031004" cy="295275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350"/>
            </a:p>
          </p:txBody>
        </p:sp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F55FC130-C330-4E1A-871F-AA21C9656476}"/>
                </a:ext>
              </a:extLst>
            </p:cNvPr>
            <p:cNvSpPr/>
            <p:nvPr userDrawn="1"/>
          </p:nvSpPr>
          <p:spPr>
            <a:xfrm>
              <a:off x="8128498" y="0"/>
              <a:ext cx="2031004" cy="295275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350"/>
            </a:p>
          </p:txBody>
        </p:sp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16920B49-723A-4B08-8571-DCCEA47E6C2E}"/>
                </a:ext>
              </a:extLst>
            </p:cNvPr>
            <p:cNvSpPr/>
            <p:nvPr userDrawn="1"/>
          </p:nvSpPr>
          <p:spPr>
            <a:xfrm>
              <a:off x="10159502" y="0"/>
              <a:ext cx="2031004" cy="295275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350"/>
            </a:p>
          </p:txBody>
        </p:sp>
      </p:grpSp>
      <p:pic>
        <p:nvPicPr>
          <p:cNvPr id="25" name="Picture 24" descr="ALMA">
            <a:extLst>
              <a:ext uri="{FF2B5EF4-FFF2-40B4-BE49-F238E27FC236}">
                <a16:creationId xmlns:a16="http://schemas.microsoft.com/office/drawing/2014/main" id="{8D27BD4E-1D97-407E-A9C6-738602B9FF3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304533" y="6368553"/>
            <a:ext cx="680959" cy="2998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11325648"/>
      </p:ext>
    </p:extLst>
  </p:cSld>
  <p:clrMapOvr>
    <a:masterClrMapping/>
  </p:clrMapOvr>
  <p:hf hdr="0" ftr="0" dt="0"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42927" y="445020"/>
            <a:ext cx="1857375" cy="872547"/>
          </a:xfrm>
        </p:spPr>
        <p:txBody>
          <a:bodyPr wrap="square" lIns="0" tIns="0" rIns="0" bIns="0" anchor="t">
            <a:spAutoFit/>
          </a:bodyPr>
          <a:lstStyle>
            <a:lvl1pPr>
              <a:defRPr sz="2100" b="1" baseline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7" name="Picture Placeholder 5"/>
          <p:cNvSpPr>
            <a:spLocks noGrp="1"/>
          </p:cNvSpPr>
          <p:nvPr>
            <p:ph type="pic" sz="quarter" idx="18"/>
          </p:nvPr>
        </p:nvSpPr>
        <p:spPr>
          <a:xfrm>
            <a:off x="2948154" y="76200"/>
            <a:ext cx="2682109" cy="67818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8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542929" y="1872048"/>
            <a:ext cx="2184509" cy="778996"/>
          </a:xfr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10000"/>
              </a:lnSpc>
              <a:spcBef>
                <a:spcPts val="0"/>
              </a:spcBef>
              <a:spcAft>
                <a:spcPts val="225"/>
              </a:spcAft>
              <a:buNone/>
              <a:defRPr sz="1050">
                <a:latin typeface="+mj-lt"/>
              </a:defRPr>
            </a:lvl1pPr>
            <a:lvl2pPr marL="171446" indent="-171446">
              <a:lnSpc>
                <a:spcPct val="110000"/>
              </a:lnSpc>
              <a:spcBef>
                <a:spcPts val="0"/>
              </a:spcBef>
              <a:spcAft>
                <a:spcPts val="225"/>
              </a:spcAft>
              <a:defRPr sz="1050">
                <a:latin typeface="+mj-lt"/>
              </a:defRPr>
            </a:lvl2pPr>
            <a:lvl3pPr marL="342892" indent="-171446">
              <a:lnSpc>
                <a:spcPct val="110000"/>
              </a:lnSpc>
              <a:spcBef>
                <a:spcPts val="0"/>
              </a:spcBef>
              <a:spcAft>
                <a:spcPts val="225"/>
              </a:spcAft>
              <a:defRPr sz="1050">
                <a:latin typeface="+mj-lt"/>
              </a:defRPr>
            </a:lvl3pPr>
            <a:lvl4pPr marL="514337" indent="-171446">
              <a:lnSpc>
                <a:spcPct val="110000"/>
              </a:lnSpc>
              <a:spcBef>
                <a:spcPts val="0"/>
              </a:spcBef>
              <a:spcAft>
                <a:spcPts val="225"/>
              </a:spcAft>
              <a:defRPr sz="1050">
                <a:latin typeface="+mj-lt"/>
              </a:defRPr>
            </a:lvl4pPr>
            <a:lvl5pPr>
              <a:defRPr sz="1050">
                <a:latin typeface="+mj-lt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9" name="Text Placeholder 5"/>
          <p:cNvSpPr>
            <a:spLocks noGrp="1"/>
          </p:cNvSpPr>
          <p:nvPr>
            <p:ph type="body" sz="quarter" idx="19"/>
          </p:nvPr>
        </p:nvSpPr>
        <p:spPr>
          <a:xfrm>
            <a:off x="6573199" y="1932398"/>
            <a:ext cx="2413109" cy="168829"/>
          </a:xfr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10000"/>
              </a:lnSpc>
              <a:spcBef>
                <a:spcPts val="0"/>
              </a:spcBef>
              <a:spcAft>
                <a:spcPts val="225"/>
              </a:spcAft>
              <a:buFont typeface="Arial" panose="020B0604020202020204" pitchFamily="34" charset="0"/>
              <a:buNone/>
              <a:defRPr sz="1050">
                <a:latin typeface="+mj-lt"/>
              </a:defRPr>
            </a:lvl1pPr>
            <a:lvl2pPr marL="171446" indent="-171446">
              <a:lnSpc>
                <a:spcPct val="110000"/>
              </a:lnSpc>
              <a:spcBef>
                <a:spcPts val="0"/>
              </a:spcBef>
              <a:spcAft>
                <a:spcPts val="225"/>
              </a:spcAft>
              <a:defRPr sz="1050">
                <a:latin typeface="+mj-lt"/>
              </a:defRPr>
            </a:lvl2pPr>
            <a:lvl3pPr marL="342892" indent="-171446">
              <a:lnSpc>
                <a:spcPct val="110000"/>
              </a:lnSpc>
              <a:spcBef>
                <a:spcPts val="0"/>
              </a:spcBef>
              <a:spcAft>
                <a:spcPts val="225"/>
              </a:spcAft>
              <a:defRPr sz="1050">
                <a:latin typeface="+mj-lt"/>
              </a:defRPr>
            </a:lvl3pPr>
            <a:lvl4pPr marL="514337" indent="-171446">
              <a:lnSpc>
                <a:spcPct val="110000"/>
              </a:lnSpc>
              <a:spcBef>
                <a:spcPts val="0"/>
              </a:spcBef>
              <a:spcAft>
                <a:spcPts val="225"/>
              </a:spcAft>
              <a:defRPr sz="1050">
                <a:latin typeface="+mj-lt"/>
              </a:defRPr>
            </a:lvl4pPr>
            <a:lvl5pPr>
              <a:defRPr sz="1050">
                <a:latin typeface="+mj-lt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0" name="Text Placeholder 17"/>
          <p:cNvSpPr>
            <a:spLocks noGrp="1"/>
          </p:cNvSpPr>
          <p:nvPr>
            <p:ph type="body" sz="quarter" idx="13" hasCustomPrompt="1"/>
          </p:nvPr>
        </p:nvSpPr>
        <p:spPr>
          <a:xfrm>
            <a:off x="6015564" y="1525815"/>
            <a:ext cx="406255" cy="530294"/>
          </a:xfrm>
          <a:prstGeom prst="ellips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txBody>
          <a:bodyPr vert="horz" wrap="square" lIns="0" tIns="0" rIns="0" bIns="0" rtlCol="0"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lang="en-GB" sz="1350" b="0" dirty="0">
                <a:solidFill>
                  <a:schemeClr val="tx1">
                    <a:lumMod val="75000"/>
                    <a:lumOff val="25000"/>
                  </a:schemeClr>
                </a:solidFill>
                <a:latin typeface="Arial Black" panose="020B0A04020102020204" pitchFamily="34" charset="0"/>
              </a:defRPr>
            </a:lvl1pPr>
          </a:lstStyle>
          <a:p>
            <a:pPr marL="171446" lvl="0" indent="-171446">
              <a:lnSpc>
                <a:spcPct val="110000"/>
              </a:lnSpc>
              <a:spcAft>
                <a:spcPts val="225"/>
              </a:spcAft>
            </a:pPr>
            <a:r>
              <a:rPr lang="en-US" dirty="0"/>
              <a:t>1</a:t>
            </a:r>
            <a:endParaRPr lang="en-GB" dirty="0"/>
          </a:p>
        </p:txBody>
      </p:sp>
      <p:sp>
        <p:nvSpPr>
          <p:cNvPr id="21" name="Text Placeholder 21"/>
          <p:cNvSpPr>
            <a:spLocks noGrp="1"/>
          </p:cNvSpPr>
          <p:nvPr>
            <p:ph type="body" sz="quarter" idx="16"/>
          </p:nvPr>
        </p:nvSpPr>
        <p:spPr>
          <a:xfrm>
            <a:off x="6573199" y="1577447"/>
            <a:ext cx="2413397" cy="163956"/>
          </a:xfrm>
        </p:spPr>
        <p:txBody>
          <a:bodyPr vert="horz" wrap="square" lIns="0" tIns="0" rIns="0" bIns="0" rtlCol="0">
            <a:spAutoFit/>
          </a:bodyPr>
          <a:lstStyle>
            <a:lvl1pPr marL="0" indent="0">
              <a:buNone/>
              <a:defRPr lang="en-GB" sz="1050" b="1" dirty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171446" lvl="0" indent="-171446">
              <a:lnSpc>
                <a:spcPct val="110000"/>
              </a:lnSpc>
              <a:spcAft>
                <a:spcPts val="225"/>
              </a:spcAft>
            </a:pPr>
            <a:r>
              <a:rPr lang="en-US"/>
              <a:t>Edit Master text styles</a:t>
            </a:r>
          </a:p>
        </p:txBody>
      </p:sp>
      <p:sp>
        <p:nvSpPr>
          <p:cNvPr id="22" name="Text Placeholder 5"/>
          <p:cNvSpPr>
            <a:spLocks noGrp="1"/>
          </p:cNvSpPr>
          <p:nvPr>
            <p:ph type="body" sz="quarter" idx="20"/>
          </p:nvPr>
        </p:nvSpPr>
        <p:spPr>
          <a:xfrm>
            <a:off x="6573199" y="3019154"/>
            <a:ext cx="2413109" cy="168829"/>
          </a:xfr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10000"/>
              </a:lnSpc>
              <a:spcBef>
                <a:spcPts val="0"/>
              </a:spcBef>
              <a:spcAft>
                <a:spcPts val="225"/>
              </a:spcAft>
              <a:buFont typeface="Arial" panose="020B0604020202020204" pitchFamily="34" charset="0"/>
              <a:buNone/>
              <a:defRPr sz="1050">
                <a:latin typeface="+mj-lt"/>
              </a:defRPr>
            </a:lvl1pPr>
            <a:lvl2pPr marL="171446" indent="-171446">
              <a:lnSpc>
                <a:spcPct val="110000"/>
              </a:lnSpc>
              <a:spcBef>
                <a:spcPts val="0"/>
              </a:spcBef>
              <a:spcAft>
                <a:spcPts val="225"/>
              </a:spcAft>
              <a:defRPr sz="1050">
                <a:latin typeface="+mj-lt"/>
              </a:defRPr>
            </a:lvl2pPr>
            <a:lvl3pPr marL="342892" indent="-171446">
              <a:lnSpc>
                <a:spcPct val="110000"/>
              </a:lnSpc>
              <a:spcBef>
                <a:spcPts val="0"/>
              </a:spcBef>
              <a:spcAft>
                <a:spcPts val="225"/>
              </a:spcAft>
              <a:defRPr sz="1050">
                <a:latin typeface="+mj-lt"/>
              </a:defRPr>
            </a:lvl3pPr>
            <a:lvl4pPr marL="514337" indent="-171446">
              <a:lnSpc>
                <a:spcPct val="110000"/>
              </a:lnSpc>
              <a:spcBef>
                <a:spcPts val="0"/>
              </a:spcBef>
              <a:spcAft>
                <a:spcPts val="225"/>
              </a:spcAft>
              <a:defRPr sz="1050">
                <a:latin typeface="+mj-lt"/>
              </a:defRPr>
            </a:lvl4pPr>
            <a:lvl5pPr>
              <a:defRPr sz="1050">
                <a:latin typeface="+mj-lt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4" name="Text Placeholder 21"/>
          <p:cNvSpPr>
            <a:spLocks noGrp="1"/>
          </p:cNvSpPr>
          <p:nvPr>
            <p:ph type="body" sz="quarter" idx="22"/>
          </p:nvPr>
        </p:nvSpPr>
        <p:spPr>
          <a:xfrm>
            <a:off x="6573199" y="2664202"/>
            <a:ext cx="2413397" cy="163956"/>
          </a:xfrm>
        </p:spPr>
        <p:txBody>
          <a:bodyPr vert="horz" wrap="square" lIns="0" tIns="0" rIns="0" bIns="0" rtlCol="0">
            <a:spAutoFit/>
          </a:bodyPr>
          <a:lstStyle>
            <a:lvl1pPr marL="0" indent="0">
              <a:buNone/>
              <a:defRPr lang="en-GB" sz="1050" b="1" dirty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171446" lvl="0" indent="-171446">
              <a:lnSpc>
                <a:spcPct val="110000"/>
              </a:lnSpc>
              <a:spcAft>
                <a:spcPts val="225"/>
              </a:spcAft>
            </a:pPr>
            <a:r>
              <a:rPr lang="en-US"/>
              <a:t>Edit Master text styles</a:t>
            </a:r>
          </a:p>
        </p:txBody>
      </p:sp>
      <p:sp>
        <p:nvSpPr>
          <p:cNvPr id="25" name="Text Placeholder 5"/>
          <p:cNvSpPr>
            <a:spLocks noGrp="1"/>
          </p:cNvSpPr>
          <p:nvPr>
            <p:ph type="body" sz="quarter" idx="23"/>
          </p:nvPr>
        </p:nvSpPr>
        <p:spPr>
          <a:xfrm>
            <a:off x="6573199" y="4072094"/>
            <a:ext cx="2413109" cy="168829"/>
          </a:xfr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10000"/>
              </a:lnSpc>
              <a:spcBef>
                <a:spcPts val="0"/>
              </a:spcBef>
              <a:spcAft>
                <a:spcPts val="225"/>
              </a:spcAft>
              <a:buFont typeface="Arial" panose="020B0604020202020204" pitchFamily="34" charset="0"/>
              <a:buNone/>
              <a:defRPr sz="1050">
                <a:latin typeface="+mj-lt"/>
              </a:defRPr>
            </a:lvl1pPr>
            <a:lvl2pPr marL="171446" indent="-171446">
              <a:lnSpc>
                <a:spcPct val="110000"/>
              </a:lnSpc>
              <a:spcBef>
                <a:spcPts val="0"/>
              </a:spcBef>
              <a:spcAft>
                <a:spcPts val="225"/>
              </a:spcAft>
              <a:defRPr sz="1050">
                <a:latin typeface="+mj-lt"/>
              </a:defRPr>
            </a:lvl2pPr>
            <a:lvl3pPr marL="342892" indent="-171446">
              <a:lnSpc>
                <a:spcPct val="110000"/>
              </a:lnSpc>
              <a:spcBef>
                <a:spcPts val="0"/>
              </a:spcBef>
              <a:spcAft>
                <a:spcPts val="225"/>
              </a:spcAft>
              <a:defRPr sz="1050">
                <a:latin typeface="+mj-lt"/>
              </a:defRPr>
            </a:lvl3pPr>
            <a:lvl4pPr marL="514337" indent="-171446">
              <a:lnSpc>
                <a:spcPct val="110000"/>
              </a:lnSpc>
              <a:spcBef>
                <a:spcPts val="0"/>
              </a:spcBef>
              <a:spcAft>
                <a:spcPts val="225"/>
              </a:spcAft>
              <a:defRPr sz="1050">
                <a:latin typeface="+mj-lt"/>
              </a:defRPr>
            </a:lvl4pPr>
            <a:lvl5pPr>
              <a:defRPr sz="1050">
                <a:latin typeface="+mj-lt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7" name="Text Placeholder 21"/>
          <p:cNvSpPr>
            <a:spLocks noGrp="1"/>
          </p:cNvSpPr>
          <p:nvPr>
            <p:ph type="body" sz="quarter" idx="25"/>
          </p:nvPr>
        </p:nvSpPr>
        <p:spPr>
          <a:xfrm>
            <a:off x="6573199" y="3717142"/>
            <a:ext cx="2413397" cy="163956"/>
          </a:xfrm>
        </p:spPr>
        <p:txBody>
          <a:bodyPr vert="horz" wrap="square" lIns="0" tIns="0" rIns="0" bIns="0" rtlCol="0">
            <a:spAutoFit/>
          </a:bodyPr>
          <a:lstStyle>
            <a:lvl1pPr marL="0" indent="0">
              <a:buNone/>
              <a:defRPr lang="en-GB" sz="1050" b="1" dirty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171446" lvl="0" indent="-171446">
              <a:lnSpc>
                <a:spcPct val="110000"/>
              </a:lnSpc>
              <a:spcAft>
                <a:spcPts val="225"/>
              </a:spcAft>
            </a:pPr>
            <a:r>
              <a:rPr lang="en-US"/>
              <a:t>Edit Master text styles</a:t>
            </a:r>
          </a:p>
        </p:txBody>
      </p:sp>
      <p:sp>
        <p:nvSpPr>
          <p:cNvPr id="28" name="Text Placeholder 5"/>
          <p:cNvSpPr>
            <a:spLocks noGrp="1"/>
          </p:cNvSpPr>
          <p:nvPr>
            <p:ph type="body" sz="quarter" idx="26"/>
          </p:nvPr>
        </p:nvSpPr>
        <p:spPr>
          <a:xfrm>
            <a:off x="6573199" y="5152717"/>
            <a:ext cx="2413109" cy="168829"/>
          </a:xfr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10000"/>
              </a:lnSpc>
              <a:spcBef>
                <a:spcPts val="0"/>
              </a:spcBef>
              <a:spcAft>
                <a:spcPts val="225"/>
              </a:spcAft>
              <a:buFont typeface="Arial" panose="020B0604020202020204" pitchFamily="34" charset="0"/>
              <a:buNone/>
              <a:defRPr sz="1050">
                <a:latin typeface="+mj-lt"/>
              </a:defRPr>
            </a:lvl1pPr>
            <a:lvl2pPr marL="171446" indent="-171446">
              <a:lnSpc>
                <a:spcPct val="110000"/>
              </a:lnSpc>
              <a:spcBef>
                <a:spcPts val="0"/>
              </a:spcBef>
              <a:spcAft>
                <a:spcPts val="225"/>
              </a:spcAft>
              <a:defRPr sz="1050">
                <a:latin typeface="+mj-lt"/>
              </a:defRPr>
            </a:lvl2pPr>
            <a:lvl3pPr marL="342892" indent="-171446">
              <a:lnSpc>
                <a:spcPct val="110000"/>
              </a:lnSpc>
              <a:spcBef>
                <a:spcPts val="0"/>
              </a:spcBef>
              <a:spcAft>
                <a:spcPts val="225"/>
              </a:spcAft>
              <a:defRPr sz="1050">
                <a:latin typeface="+mj-lt"/>
              </a:defRPr>
            </a:lvl3pPr>
            <a:lvl4pPr marL="514337" indent="-171446">
              <a:lnSpc>
                <a:spcPct val="110000"/>
              </a:lnSpc>
              <a:spcBef>
                <a:spcPts val="0"/>
              </a:spcBef>
              <a:spcAft>
                <a:spcPts val="225"/>
              </a:spcAft>
              <a:defRPr sz="1050">
                <a:latin typeface="+mj-lt"/>
              </a:defRPr>
            </a:lvl4pPr>
            <a:lvl5pPr>
              <a:defRPr sz="1050">
                <a:latin typeface="+mj-lt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0" name="Text Placeholder 21"/>
          <p:cNvSpPr>
            <a:spLocks noGrp="1"/>
          </p:cNvSpPr>
          <p:nvPr>
            <p:ph type="body" sz="quarter" idx="28"/>
          </p:nvPr>
        </p:nvSpPr>
        <p:spPr>
          <a:xfrm>
            <a:off x="6573199" y="4797765"/>
            <a:ext cx="2413397" cy="163956"/>
          </a:xfrm>
        </p:spPr>
        <p:txBody>
          <a:bodyPr vert="horz" wrap="square" lIns="0" tIns="0" rIns="0" bIns="0" rtlCol="0">
            <a:spAutoFit/>
          </a:bodyPr>
          <a:lstStyle>
            <a:lvl1pPr marL="0" indent="0">
              <a:buNone/>
              <a:defRPr lang="en-GB" sz="1050" b="1" dirty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171446" lvl="0" indent="-171446">
              <a:lnSpc>
                <a:spcPct val="110000"/>
              </a:lnSpc>
              <a:spcAft>
                <a:spcPts val="225"/>
              </a:spcAft>
            </a:pPr>
            <a:r>
              <a:rPr lang="en-US"/>
              <a:t>Edit Master text styles</a:t>
            </a:r>
          </a:p>
        </p:txBody>
      </p:sp>
      <p:sp>
        <p:nvSpPr>
          <p:cNvPr id="31" name="Text Placeholder 17"/>
          <p:cNvSpPr>
            <a:spLocks noGrp="1"/>
          </p:cNvSpPr>
          <p:nvPr>
            <p:ph type="body" sz="quarter" idx="29" hasCustomPrompt="1"/>
          </p:nvPr>
        </p:nvSpPr>
        <p:spPr>
          <a:xfrm>
            <a:off x="6015564" y="2636043"/>
            <a:ext cx="406255" cy="530294"/>
          </a:xfrm>
          <a:prstGeom prst="ellips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txBody>
          <a:bodyPr vert="horz" wrap="square" lIns="0" tIns="0" rIns="0" bIns="0" rtlCol="0"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lang="en-GB" sz="1350" b="0" dirty="0">
                <a:solidFill>
                  <a:schemeClr val="tx1">
                    <a:lumMod val="75000"/>
                    <a:lumOff val="25000"/>
                  </a:schemeClr>
                </a:solidFill>
                <a:latin typeface="Arial Black" panose="020B0A04020102020204" pitchFamily="34" charset="0"/>
              </a:defRPr>
            </a:lvl1pPr>
          </a:lstStyle>
          <a:p>
            <a:pPr marL="171446" lvl="0" indent="-171446">
              <a:lnSpc>
                <a:spcPct val="110000"/>
              </a:lnSpc>
              <a:spcAft>
                <a:spcPts val="225"/>
              </a:spcAft>
            </a:pPr>
            <a:r>
              <a:rPr lang="en-GB" dirty="0"/>
              <a:t>2</a:t>
            </a:r>
          </a:p>
        </p:txBody>
      </p:sp>
      <p:sp>
        <p:nvSpPr>
          <p:cNvPr id="32" name="Text Placeholder 17"/>
          <p:cNvSpPr>
            <a:spLocks noGrp="1"/>
          </p:cNvSpPr>
          <p:nvPr>
            <p:ph type="body" sz="quarter" idx="30" hasCustomPrompt="1"/>
          </p:nvPr>
        </p:nvSpPr>
        <p:spPr>
          <a:xfrm>
            <a:off x="6015564" y="3688983"/>
            <a:ext cx="406255" cy="530294"/>
          </a:xfrm>
          <a:prstGeom prst="ellips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txBody>
          <a:bodyPr vert="horz" wrap="square" lIns="0" tIns="0" rIns="0" bIns="0" rtlCol="0"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lang="en-GB" sz="1350" b="0" dirty="0">
                <a:solidFill>
                  <a:schemeClr val="tx1">
                    <a:lumMod val="75000"/>
                    <a:lumOff val="25000"/>
                  </a:schemeClr>
                </a:solidFill>
                <a:latin typeface="Arial Black" panose="020B0A04020102020204" pitchFamily="34" charset="0"/>
              </a:defRPr>
            </a:lvl1pPr>
          </a:lstStyle>
          <a:p>
            <a:pPr marL="171446" lvl="0" indent="-171446">
              <a:lnSpc>
                <a:spcPct val="110000"/>
              </a:lnSpc>
              <a:spcAft>
                <a:spcPts val="225"/>
              </a:spcAft>
            </a:pPr>
            <a:r>
              <a:rPr lang="en-US" dirty="0"/>
              <a:t>3</a:t>
            </a:r>
            <a:endParaRPr lang="en-GB" dirty="0"/>
          </a:p>
        </p:txBody>
      </p:sp>
      <p:sp>
        <p:nvSpPr>
          <p:cNvPr id="33" name="Text Placeholder 17"/>
          <p:cNvSpPr>
            <a:spLocks noGrp="1"/>
          </p:cNvSpPr>
          <p:nvPr>
            <p:ph type="body" sz="quarter" idx="31" hasCustomPrompt="1"/>
          </p:nvPr>
        </p:nvSpPr>
        <p:spPr>
          <a:xfrm>
            <a:off x="6015564" y="4741923"/>
            <a:ext cx="406255" cy="530294"/>
          </a:xfrm>
          <a:prstGeom prst="ellips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txBody>
          <a:bodyPr vert="horz" wrap="square" lIns="0" tIns="0" rIns="0" bIns="0" rtlCol="0"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lang="en-GB" sz="1350" b="0" dirty="0">
                <a:solidFill>
                  <a:schemeClr val="tx1">
                    <a:lumMod val="75000"/>
                    <a:lumOff val="25000"/>
                  </a:schemeClr>
                </a:solidFill>
                <a:latin typeface="Arial Black" panose="020B0A04020102020204" pitchFamily="34" charset="0"/>
              </a:defRPr>
            </a:lvl1pPr>
          </a:lstStyle>
          <a:p>
            <a:pPr marL="171446" lvl="0" indent="-171446">
              <a:lnSpc>
                <a:spcPct val="110000"/>
              </a:lnSpc>
              <a:spcAft>
                <a:spcPts val="225"/>
              </a:spcAft>
            </a:pPr>
            <a:r>
              <a:rPr lang="en-US" dirty="0"/>
              <a:t>4</a:t>
            </a:r>
            <a:endParaRPr lang="en-GB" dirty="0"/>
          </a:p>
        </p:txBody>
      </p:sp>
      <p:grpSp>
        <p:nvGrpSpPr>
          <p:cNvPr id="29" name="Group 28">
            <a:extLst>
              <a:ext uri="{FF2B5EF4-FFF2-40B4-BE49-F238E27FC236}">
                <a16:creationId xmlns:a16="http://schemas.microsoft.com/office/drawing/2014/main" id="{7B544354-C832-42B2-858D-B88F66D15E0D}"/>
              </a:ext>
            </a:extLst>
          </p:cNvPr>
          <p:cNvGrpSpPr/>
          <p:nvPr userDrawn="1"/>
        </p:nvGrpSpPr>
        <p:grpSpPr>
          <a:xfrm>
            <a:off x="1120" y="6781800"/>
            <a:ext cx="9142880" cy="76200"/>
            <a:chOff x="0" y="0"/>
            <a:chExt cx="12190506" cy="295275"/>
          </a:xfrm>
        </p:grpSpPr>
        <p:sp>
          <p:nvSpPr>
            <p:cNvPr id="34" name="Rectangle 33">
              <a:extLst>
                <a:ext uri="{FF2B5EF4-FFF2-40B4-BE49-F238E27FC236}">
                  <a16:creationId xmlns:a16="http://schemas.microsoft.com/office/drawing/2014/main" id="{48EFF5A2-7C1D-4F3E-AAD6-4482AD40B279}"/>
                </a:ext>
              </a:extLst>
            </p:cNvPr>
            <p:cNvSpPr/>
            <p:nvPr userDrawn="1"/>
          </p:nvSpPr>
          <p:spPr>
            <a:xfrm>
              <a:off x="0" y="0"/>
              <a:ext cx="6096000" cy="295275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350"/>
            </a:p>
          </p:txBody>
        </p:sp>
        <p:sp>
          <p:nvSpPr>
            <p:cNvPr id="35" name="Rectangle 34">
              <a:extLst>
                <a:ext uri="{FF2B5EF4-FFF2-40B4-BE49-F238E27FC236}">
                  <a16:creationId xmlns:a16="http://schemas.microsoft.com/office/drawing/2014/main" id="{0BFF3EE8-858D-4327-9072-C47D646E5E30}"/>
                </a:ext>
              </a:extLst>
            </p:cNvPr>
            <p:cNvSpPr/>
            <p:nvPr userDrawn="1"/>
          </p:nvSpPr>
          <p:spPr>
            <a:xfrm>
              <a:off x="6097494" y="0"/>
              <a:ext cx="2031004" cy="295275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350"/>
            </a:p>
          </p:txBody>
        </p:sp>
        <p:sp>
          <p:nvSpPr>
            <p:cNvPr id="36" name="Rectangle 35">
              <a:extLst>
                <a:ext uri="{FF2B5EF4-FFF2-40B4-BE49-F238E27FC236}">
                  <a16:creationId xmlns:a16="http://schemas.microsoft.com/office/drawing/2014/main" id="{ACE38F40-DDBC-4556-9FE9-2F57EF389350}"/>
                </a:ext>
              </a:extLst>
            </p:cNvPr>
            <p:cNvSpPr/>
            <p:nvPr userDrawn="1"/>
          </p:nvSpPr>
          <p:spPr>
            <a:xfrm>
              <a:off x="8128498" y="0"/>
              <a:ext cx="2031004" cy="295275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350"/>
            </a:p>
          </p:txBody>
        </p:sp>
        <p:sp>
          <p:nvSpPr>
            <p:cNvPr id="37" name="Rectangle 36">
              <a:extLst>
                <a:ext uri="{FF2B5EF4-FFF2-40B4-BE49-F238E27FC236}">
                  <a16:creationId xmlns:a16="http://schemas.microsoft.com/office/drawing/2014/main" id="{8FDED2F6-2E73-408D-B0A1-595D0D94475C}"/>
                </a:ext>
              </a:extLst>
            </p:cNvPr>
            <p:cNvSpPr/>
            <p:nvPr userDrawn="1"/>
          </p:nvSpPr>
          <p:spPr>
            <a:xfrm>
              <a:off x="10159502" y="0"/>
              <a:ext cx="2031004" cy="295275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350"/>
            </a:p>
          </p:txBody>
        </p:sp>
      </p:grpSp>
      <p:sp>
        <p:nvSpPr>
          <p:cNvPr id="38" name="Text Placeholder 6">
            <a:extLst>
              <a:ext uri="{FF2B5EF4-FFF2-40B4-BE49-F238E27FC236}">
                <a16:creationId xmlns:a16="http://schemas.microsoft.com/office/drawing/2014/main" id="{78121E1A-CD03-47AE-8251-88FB51C04B7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57404" y="6547763"/>
            <a:ext cx="7052072" cy="120610"/>
          </a:xfrm>
        </p:spPr>
        <p:txBody>
          <a:bodyPr vert="horz" wrap="square" lIns="0" tIns="0" rIns="0" bIns="0" rtlCol="0" anchor="b">
            <a:spAutoFit/>
          </a:bodyPr>
          <a:lstStyle>
            <a:lvl1pPr marL="0" indent="0">
              <a:buNone/>
              <a:defRPr lang="en-US" sz="750" dirty="0" smtClean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lang="en-US" sz="1050" dirty="0" smtClean="0">
                <a:latin typeface="+mj-lt"/>
              </a:defRPr>
            </a:lvl2pPr>
            <a:lvl3pPr>
              <a:defRPr lang="en-US" sz="1050" dirty="0" smtClean="0">
                <a:latin typeface="+mj-lt"/>
              </a:defRPr>
            </a:lvl3pPr>
            <a:lvl4pPr>
              <a:defRPr lang="en-US" sz="1050" dirty="0" smtClean="0">
                <a:latin typeface="+mj-lt"/>
              </a:defRPr>
            </a:lvl4pPr>
            <a:lvl5pPr>
              <a:defRPr lang="en-GB" sz="1050" dirty="0">
                <a:latin typeface="+mj-lt"/>
              </a:defRPr>
            </a:lvl5pPr>
          </a:lstStyle>
          <a:p>
            <a:pPr marL="171446" lvl="0" indent="-171446">
              <a:lnSpc>
                <a:spcPct val="110000"/>
              </a:lnSpc>
              <a:spcBef>
                <a:spcPts val="0"/>
              </a:spcBef>
              <a:spcAft>
                <a:spcPts val="225"/>
              </a:spcAft>
            </a:pPr>
            <a:r>
              <a:rPr lang="en-US" dirty="0"/>
              <a:t>SOURCE:</a:t>
            </a:r>
          </a:p>
        </p:txBody>
      </p:sp>
      <p:pic>
        <p:nvPicPr>
          <p:cNvPr id="39" name="Picture 38" descr="ALMA">
            <a:extLst>
              <a:ext uri="{FF2B5EF4-FFF2-40B4-BE49-F238E27FC236}">
                <a16:creationId xmlns:a16="http://schemas.microsoft.com/office/drawing/2014/main" id="{38565F8F-E370-4F51-95CB-1CCA30D7E15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305637" y="6368553"/>
            <a:ext cx="680959" cy="2998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00619176"/>
      </p:ext>
    </p:extLst>
  </p:cSld>
  <p:clrMapOvr>
    <a:masterClrMapping/>
  </p:clrMapOvr>
  <p:hf hdr="0" ftr="0" dt="0"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Dark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/>
          <p:cNvSpPr/>
          <p:nvPr userDrawn="1"/>
        </p:nvSpPr>
        <p:spPr>
          <a:xfrm>
            <a:off x="0" y="4"/>
            <a:ext cx="4572000" cy="6857999"/>
          </a:xfrm>
          <a:prstGeom prst="rect">
            <a:avLst/>
          </a:prstGeom>
          <a:solidFill>
            <a:schemeClr val="tx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35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42928" y="454548"/>
            <a:ext cx="2413109" cy="581698"/>
          </a:xfrm>
        </p:spPr>
        <p:txBody>
          <a:bodyPr wrap="square" lIns="0" tIns="0" rIns="0" bIns="0" anchor="t">
            <a:spAutoFit/>
          </a:bodyPr>
          <a:lstStyle>
            <a:lvl1pPr>
              <a:defRPr sz="2100" b="1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>
          <a:xfrm>
            <a:off x="542929" y="3205163"/>
            <a:ext cx="2413109" cy="778996"/>
          </a:xfrm>
        </p:spPr>
        <p:txBody>
          <a:bodyPr vert="horz" wrap="square" lIns="0" tIns="0" rIns="0" bIns="0" rtlCol="0">
            <a:spAutoFit/>
          </a:bodyPr>
          <a:lstStyle>
            <a:lvl1pPr marL="0" indent="0">
              <a:buNone/>
              <a:defRPr lang="en-US" sz="1050" dirty="0" smtClean="0">
                <a:solidFill>
                  <a:schemeClr val="bg1"/>
                </a:solidFill>
                <a:latin typeface="+mj-lt"/>
              </a:defRPr>
            </a:lvl1pPr>
            <a:lvl2pPr>
              <a:defRPr lang="en-US" sz="1050" dirty="0" smtClean="0">
                <a:solidFill>
                  <a:schemeClr val="bg1"/>
                </a:solidFill>
                <a:latin typeface="+mj-lt"/>
              </a:defRPr>
            </a:lvl2pPr>
            <a:lvl3pPr>
              <a:defRPr lang="en-US" sz="1050" dirty="0" smtClean="0">
                <a:solidFill>
                  <a:schemeClr val="bg1"/>
                </a:solidFill>
                <a:latin typeface="+mj-lt"/>
              </a:defRPr>
            </a:lvl3pPr>
            <a:lvl4pPr>
              <a:defRPr lang="en-US" sz="1050" dirty="0" smtClean="0">
                <a:solidFill>
                  <a:schemeClr val="bg1"/>
                </a:solidFill>
                <a:latin typeface="+mj-lt"/>
              </a:defRPr>
            </a:lvl4pPr>
          </a:lstStyle>
          <a:p>
            <a:pPr marL="171446" lvl="0" indent="-171446">
              <a:lnSpc>
                <a:spcPct val="110000"/>
              </a:lnSpc>
              <a:spcBef>
                <a:spcPts val="0"/>
              </a:spcBef>
              <a:spcAft>
                <a:spcPts val="225"/>
              </a:spcAft>
            </a:pPr>
            <a:r>
              <a:rPr lang="en-US"/>
              <a:t>Edit Master text styles</a:t>
            </a:r>
          </a:p>
          <a:p>
            <a:pPr marL="171446" lvl="1" indent="-171446">
              <a:lnSpc>
                <a:spcPct val="110000"/>
              </a:lnSpc>
              <a:spcBef>
                <a:spcPts val="0"/>
              </a:spcBef>
              <a:spcAft>
                <a:spcPts val="225"/>
              </a:spcAft>
            </a:pPr>
            <a:r>
              <a:rPr lang="en-US"/>
              <a:t>Second level</a:t>
            </a:r>
          </a:p>
          <a:p>
            <a:pPr marL="171446" lvl="2" indent="-171446">
              <a:lnSpc>
                <a:spcPct val="110000"/>
              </a:lnSpc>
              <a:spcBef>
                <a:spcPts val="0"/>
              </a:spcBef>
              <a:spcAft>
                <a:spcPts val="225"/>
              </a:spcAft>
            </a:pPr>
            <a:r>
              <a:rPr lang="en-US"/>
              <a:t>Third level</a:t>
            </a:r>
          </a:p>
          <a:p>
            <a:pPr marL="171446" lvl="3" indent="-171446">
              <a:lnSpc>
                <a:spcPct val="110000"/>
              </a:lnSpc>
              <a:spcBef>
                <a:spcPts val="0"/>
              </a:spcBef>
              <a:spcAft>
                <a:spcPts val="225"/>
              </a:spcAft>
            </a:pPr>
            <a:r>
              <a:rPr lang="en-US"/>
              <a:t>Fourth level</a:t>
            </a:r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1066B2AD-6A8B-47E2-8134-63A70420DBA1}"/>
              </a:ext>
            </a:extLst>
          </p:cNvPr>
          <p:cNvGrpSpPr/>
          <p:nvPr userDrawn="1"/>
        </p:nvGrpSpPr>
        <p:grpSpPr>
          <a:xfrm>
            <a:off x="1120" y="6781800"/>
            <a:ext cx="9142880" cy="76200"/>
            <a:chOff x="0" y="0"/>
            <a:chExt cx="12190506" cy="295275"/>
          </a:xfrm>
        </p:grpSpPr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931BE30A-B6E4-4FE7-A239-5B86C30FCD14}"/>
                </a:ext>
              </a:extLst>
            </p:cNvPr>
            <p:cNvSpPr/>
            <p:nvPr userDrawn="1"/>
          </p:nvSpPr>
          <p:spPr>
            <a:xfrm>
              <a:off x="0" y="0"/>
              <a:ext cx="6096000" cy="295275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350"/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63595399-1E8E-4F31-BBD2-284C3E7B8555}"/>
                </a:ext>
              </a:extLst>
            </p:cNvPr>
            <p:cNvSpPr/>
            <p:nvPr userDrawn="1"/>
          </p:nvSpPr>
          <p:spPr>
            <a:xfrm>
              <a:off x="6097494" y="0"/>
              <a:ext cx="2031004" cy="295275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350"/>
            </a:p>
          </p:txBody>
        </p:sp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91E88427-59D7-4433-AA08-3D7A81E9804B}"/>
                </a:ext>
              </a:extLst>
            </p:cNvPr>
            <p:cNvSpPr/>
            <p:nvPr userDrawn="1"/>
          </p:nvSpPr>
          <p:spPr>
            <a:xfrm>
              <a:off x="8128498" y="0"/>
              <a:ext cx="2031004" cy="295275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350"/>
            </a:p>
          </p:txBody>
        </p:sp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3511BEC9-2C54-468B-ADD4-ACF919A66162}"/>
                </a:ext>
              </a:extLst>
            </p:cNvPr>
            <p:cNvSpPr/>
            <p:nvPr userDrawn="1"/>
          </p:nvSpPr>
          <p:spPr>
            <a:xfrm>
              <a:off x="10159502" y="0"/>
              <a:ext cx="2031004" cy="295275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350"/>
            </a:p>
          </p:txBody>
        </p:sp>
      </p:grpSp>
      <p:sp>
        <p:nvSpPr>
          <p:cNvPr id="23" name="Text Placeholder 6">
            <a:extLst>
              <a:ext uri="{FF2B5EF4-FFF2-40B4-BE49-F238E27FC236}">
                <a16:creationId xmlns:a16="http://schemas.microsoft.com/office/drawing/2014/main" id="{6687C554-BD55-4420-B687-25231660350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57404" y="6547763"/>
            <a:ext cx="7052072" cy="120610"/>
          </a:xfrm>
        </p:spPr>
        <p:txBody>
          <a:bodyPr vert="horz" wrap="square" lIns="0" tIns="0" rIns="0" bIns="0" rtlCol="0" anchor="b">
            <a:spAutoFit/>
          </a:bodyPr>
          <a:lstStyle>
            <a:lvl1pPr marL="0" indent="0">
              <a:buNone/>
              <a:defRPr lang="en-US" sz="750" dirty="0" smtClean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lang="en-US" sz="1050" dirty="0" smtClean="0">
                <a:latin typeface="+mj-lt"/>
              </a:defRPr>
            </a:lvl2pPr>
            <a:lvl3pPr>
              <a:defRPr lang="en-US" sz="1050" dirty="0" smtClean="0">
                <a:latin typeface="+mj-lt"/>
              </a:defRPr>
            </a:lvl3pPr>
            <a:lvl4pPr>
              <a:defRPr lang="en-US" sz="1050" dirty="0" smtClean="0">
                <a:latin typeface="+mj-lt"/>
              </a:defRPr>
            </a:lvl4pPr>
            <a:lvl5pPr>
              <a:defRPr lang="en-GB" sz="1050" dirty="0">
                <a:latin typeface="+mj-lt"/>
              </a:defRPr>
            </a:lvl5pPr>
          </a:lstStyle>
          <a:p>
            <a:pPr marL="171446" lvl="0" indent="-171446">
              <a:lnSpc>
                <a:spcPct val="110000"/>
              </a:lnSpc>
              <a:spcBef>
                <a:spcPts val="0"/>
              </a:spcBef>
              <a:spcAft>
                <a:spcPts val="225"/>
              </a:spcAft>
            </a:pPr>
            <a:r>
              <a:rPr lang="en-US" dirty="0"/>
              <a:t>SOURCE:</a:t>
            </a:r>
          </a:p>
        </p:txBody>
      </p:sp>
      <p:pic>
        <p:nvPicPr>
          <p:cNvPr id="24" name="Picture 23" descr="ALMA">
            <a:extLst>
              <a:ext uri="{FF2B5EF4-FFF2-40B4-BE49-F238E27FC236}">
                <a16:creationId xmlns:a16="http://schemas.microsoft.com/office/drawing/2014/main" id="{7F17DE6F-646F-42BF-9E84-0660E25528A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305637" y="6368553"/>
            <a:ext cx="680959" cy="2998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70294734"/>
      </p:ext>
    </p:extLst>
  </p:cSld>
  <p:clrMapOvr>
    <a:masterClrMapping/>
  </p:clrMapOvr>
  <p:hf hdr="0" ftr="0" dt="0"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Dark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/>
          <p:cNvSpPr/>
          <p:nvPr userDrawn="1"/>
        </p:nvSpPr>
        <p:spPr>
          <a:xfrm>
            <a:off x="0" y="4"/>
            <a:ext cx="4572000" cy="6857999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 sz="135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42928" y="454546"/>
            <a:ext cx="2413109" cy="581698"/>
          </a:xfrm>
        </p:spPr>
        <p:txBody>
          <a:bodyPr wrap="square" lIns="0" tIns="0" rIns="0" bIns="0" anchor="t">
            <a:spAutoFit/>
          </a:bodyPr>
          <a:lstStyle>
            <a:lvl1pPr>
              <a:defRPr sz="2100" b="1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>
          <a:xfrm>
            <a:off x="542929" y="3205163"/>
            <a:ext cx="2413109" cy="778996"/>
          </a:xfrm>
        </p:spPr>
        <p:txBody>
          <a:bodyPr vert="horz" wrap="square" lIns="0" tIns="0" rIns="0" bIns="0" rtlCol="0">
            <a:spAutoFit/>
          </a:bodyPr>
          <a:lstStyle>
            <a:lvl1pPr marL="0" indent="0">
              <a:buNone/>
              <a:defRPr lang="en-US" sz="1050" dirty="0" smtClean="0">
                <a:solidFill>
                  <a:schemeClr val="tx1"/>
                </a:solidFill>
                <a:latin typeface="+mj-lt"/>
              </a:defRPr>
            </a:lvl1pPr>
            <a:lvl2pPr>
              <a:defRPr lang="en-US" sz="1050" dirty="0" smtClean="0">
                <a:solidFill>
                  <a:schemeClr val="tx1"/>
                </a:solidFill>
                <a:latin typeface="+mj-lt"/>
              </a:defRPr>
            </a:lvl2pPr>
            <a:lvl3pPr>
              <a:defRPr lang="en-US" sz="1050" dirty="0" smtClean="0">
                <a:solidFill>
                  <a:schemeClr val="tx1"/>
                </a:solidFill>
                <a:latin typeface="+mj-lt"/>
              </a:defRPr>
            </a:lvl3pPr>
            <a:lvl4pPr>
              <a:defRPr lang="en-US" sz="1050" dirty="0" smtClean="0">
                <a:solidFill>
                  <a:schemeClr val="tx1"/>
                </a:solidFill>
                <a:latin typeface="+mj-lt"/>
              </a:defRPr>
            </a:lvl4pPr>
          </a:lstStyle>
          <a:p>
            <a:pPr marL="171446" lvl="0" indent="-171446">
              <a:lnSpc>
                <a:spcPct val="110000"/>
              </a:lnSpc>
              <a:spcBef>
                <a:spcPts val="0"/>
              </a:spcBef>
              <a:spcAft>
                <a:spcPts val="225"/>
              </a:spcAft>
            </a:pPr>
            <a:r>
              <a:rPr lang="en-US"/>
              <a:t>Edit Master text styles</a:t>
            </a:r>
          </a:p>
          <a:p>
            <a:pPr marL="171446" lvl="1" indent="-171446">
              <a:lnSpc>
                <a:spcPct val="110000"/>
              </a:lnSpc>
              <a:spcBef>
                <a:spcPts val="0"/>
              </a:spcBef>
              <a:spcAft>
                <a:spcPts val="225"/>
              </a:spcAft>
            </a:pPr>
            <a:r>
              <a:rPr lang="en-US"/>
              <a:t>Second level</a:t>
            </a:r>
          </a:p>
          <a:p>
            <a:pPr marL="171446" lvl="2" indent="-171446">
              <a:lnSpc>
                <a:spcPct val="110000"/>
              </a:lnSpc>
              <a:spcBef>
                <a:spcPts val="0"/>
              </a:spcBef>
              <a:spcAft>
                <a:spcPts val="225"/>
              </a:spcAft>
            </a:pPr>
            <a:r>
              <a:rPr lang="en-US"/>
              <a:t>Third level</a:t>
            </a:r>
          </a:p>
          <a:p>
            <a:pPr marL="171446" lvl="3" indent="-171446">
              <a:lnSpc>
                <a:spcPct val="110000"/>
              </a:lnSpc>
              <a:spcBef>
                <a:spcPts val="0"/>
              </a:spcBef>
              <a:spcAft>
                <a:spcPts val="225"/>
              </a:spcAft>
            </a:pPr>
            <a:r>
              <a:rPr lang="en-US"/>
              <a:t>Fourth level</a:t>
            </a:r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3CCCD981-BE23-4A41-BBFD-9CAEF87FD332}"/>
              </a:ext>
            </a:extLst>
          </p:cNvPr>
          <p:cNvGrpSpPr/>
          <p:nvPr userDrawn="1"/>
        </p:nvGrpSpPr>
        <p:grpSpPr>
          <a:xfrm>
            <a:off x="1120" y="6781800"/>
            <a:ext cx="9142880" cy="76200"/>
            <a:chOff x="0" y="0"/>
            <a:chExt cx="12190506" cy="295275"/>
          </a:xfrm>
        </p:grpSpPr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A7559442-BA16-43E9-8161-5233AC188539}"/>
                </a:ext>
              </a:extLst>
            </p:cNvPr>
            <p:cNvSpPr/>
            <p:nvPr userDrawn="1"/>
          </p:nvSpPr>
          <p:spPr>
            <a:xfrm>
              <a:off x="0" y="0"/>
              <a:ext cx="6096000" cy="295275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350"/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0105BB14-52AF-4B74-A3BB-2375EDE8398C}"/>
                </a:ext>
              </a:extLst>
            </p:cNvPr>
            <p:cNvSpPr/>
            <p:nvPr userDrawn="1"/>
          </p:nvSpPr>
          <p:spPr>
            <a:xfrm>
              <a:off x="6097494" y="0"/>
              <a:ext cx="2031004" cy="295275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350"/>
            </a:p>
          </p:txBody>
        </p:sp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6FA1D545-13A6-444F-99DE-F7B855F0D11A}"/>
                </a:ext>
              </a:extLst>
            </p:cNvPr>
            <p:cNvSpPr/>
            <p:nvPr userDrawn="1"/>
          </p:nvSpPr>
          <p:spPr>
            <a:xfrm>
              <a:off x="8128498" y="0"/>
              <a:ext cx="2031004" cy="295275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350"/>
            </a:p>
          </p:txBody>
        </p:sp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1C67DD36-8999-425C-9FF5-756826AB0D37}"/>
                </a:ext>
              </a:extLst>
            </p:cNvPr>
            <p:cNvSpPr/>
            <p:nvPr userDrawn="1"/>
          </p:nvSpPr>
          <p:spPr>
            <a:xfrm>
              <a:off x="10159502" y="0"/>
              <a:ext cx="2031004" cy="295275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350"/>
            </a:p>
          </p:txBody>
        </p:sp>
      </p:grpSp>
      <p:sp>
        <p:nvSpPr>
          <p:cNvPr id="23" name="Text Placeholder 6">
            <a:extLst>
              <a:ext uri="{FF2B5EF4-FFF2-40B4-BE49-F238E27FC236}">
                <a16:creationId xmlns:a16="http://schemas.microsoft.com/office/drawing/2014/main" id="{9C427437-A62D-4E93-922F-D3150EE521F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57404" y="6547763"/>
            <a:ext cx="7052072" cy="120610"/>
          </a:xfrm>
        </p:spPr>
        <p:txBody>
          <a:bodyPr vert="horz" wrap="square" lIns="0" tIns="0" rIns="0" bIns="0" rtlCol="0" anchor="b">
            <a:spAutoFit/>
          </a:bodyPr>
          <a:lstStyle>
            <a:lvl1pPr marL="0" indent="0">
              <a:buNone/>
              <a:defRPr lang="en-US" sz="750" dirty="0" smtClean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lang="en-US" sz="1050" dirty="0" smtClean="0">
                <a:latin typeface="+mj-lt"/>
              </a:defRPr>
            </a:lvl2pPr>
            <a:lvl3pPr>
              <a:defRPr lang="en-US" sz="1050" dirty="0" smtClean="0">
                <a:latin typeface="+mj-lt"/>
              </a:defRPr>
            </a:lvl3pPr>
            <a:lvl4pPr>
              <a:defRPr lang="en-US" sz="1050" dirty="0" smtClean="0">
                <a:latin typeface="+mj-lt"/>
              </a:defRPr>
            </a:lvl4pPr>
            <a:lvl5pPr>
              <a:defRPr lang="en-GB" sz="1050" dirty="0">
                <a:latin typeface="+mj-lt"/>
              </a:defRPr>
            </a:lvl5pPr>
          </a:lstStyle>
          <a:p>
            <a:pPr marL="171446" lvl="0" indent="-171446">
              <a:lnSpc>
                <a:spcPct val="110000"/>
              </a:lnSpc>
              <a:spcBef>
                <a:spcPts val="0"/>
              </a:spcBef>
              <a:spcAft>
                <a:spcPts val="225"/>
              </a:spcAft>
            </a:pPr>
            <a:r>
              <a:rPr lang="en-US" dirty="0"/>
              <a:t>SOURCE:</a:t>
            </a:r>
          </a:p>
        </p:txBody>
      </p:sp>
      <p:pic>
        <p:nvPicPr>
          <p:cNvPr id="24" name="Picture 23" descr="ALMA">
            <a:extLst>
              <a:ext uri="{FF2B5EF4-FFF2-40B4-BE49-F238E27FC236}">
                <a16:creationId xmlns:a16="http://schemas.microsoft.com/office/drawing/2014/main" id="{A2684FA5-3CEC-4548-89DD-E5572976CD2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305637" y="6368553"/>
            <a:ext cx="680959" cy="2998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8485423"/>
      </p:ext>
    </p:extLst>
  </p:cSld>
  <p:clrMapOvr>
    <a:masterClrMapping/>
  </p:clrMapOvr>
  <p:hf hdr="0" ftr="0" dt="0"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Pictur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/>
          <p:cNvSpPr/>
          <p:nvPr userDrawn="1"/>
        </p:nvSpPr>
        <p:spPr>
          <a:xfrm>
            <a:off x="0" y="4"/>
            <a:ext cx="4572000" cy="6857999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350"/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0"/>
          </p:nvPr>
        </p:nvSpPr>
        <p:spPr>
          <a:xfrm>
            <a:off x="0" y="76202"/>
            <a:ext cx="4572000" cy="6781799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42927" y="454544"/>
            <a:ext cx="1857375" cy="872547"/>
          </a:xfrm>
        </p:spPr>
        <p:txBody>
          <a:bodyPr wrap="square" lIns="0" tIns="0" rIns="0" bIns="0" anchor="t">
            <a:spAutoFit/>
          </a:bodyPr>
          <a:lstStyle>
            <a:lvl1pPr>
              <a:defRPr sz="2100" b="1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7" name="Text Placeholder 6"/>
          <p:cNvSpPr>
            <a:spLocks noGrp="1"/>
          </p:cNvSpPr>
          <p:nvPr>
            <p:ph type="body" sz="quarter" idx="11"/>
          </p:nvPr>
        </p:nvSpPr>
        <p:spPr>
          <a:xfrm>
            <a:off x="542929" y="2365631"/>
            <a:ext cx="2413109" cy="778996"/>
          </a:xfrm>
        </p:spPr>
        <p:txBody>
          <a:bodyPr vert="horz" wrap="square" lIns="0" tIns="0" rIns="0" bIns="0" rtlCol="0">
            <a:spAutoFit/>
          </a:bodyPr>
          <a:lstStyle>
            <a:lvl1pPr marL="0" indent="0">
              <a:buNone/>
              <a:defRPr lang="en-US" sz="1050" dirty="0" smtClean="0">
                <a:solidFill>
                  <a:schemeClr val="bg1"/>
                </a:solidFill>
                <a:latin typeface="+mj-lt"/>
              </a:defRPr>
            </a:lvl1pPr>
            <a:lvl2pPr>
              <a:defRPr lang="en-US" sz="1050" dirty="0" smtClean="0">
                <a:solidFill>
                  <a:schemeClr val="bg1"/>
                </a:solidFill>
                <a:latin typeface="+mj-lt"/>
              </a:defRPr>
            </a:lvl2pPr>
            <a:lvl3pPr>
              <a:defRPr lang="en-US" sz="1050" dirty="0" smtClean="0">
                <a:solidFill>
                  <a:schemeClr val="bg1"/>
                </a:solidFill>
                <a:latin typeface="+mj-lt"/>
              </a:defRPr>
            </a:lvl3pPr>
            <a:lvl4pPr>
              <a:defRPr lang="en-US" sz="1050" dirty="0" smtClean="0">
                <a:solidFill>
                  <a:schemeClr val="bg1"/>
                </a:solidFill>
                <a:latin typeface="+mj-lt"/>
              </a:defRPr>
            </a:lvl4pPr>
          </a:lstStyle>
          <a:p>
            <a:pPr marL="171446" lvl="0" indent="-171446">
              <a:lnSpc>
                <a:spcPct val="110000"/>
              </a:lnSpc>
              <a:spcBef>
                <a:spcPts val="0"/>
              </a:spcBef>
              <a:spcAft>
                <a:spcPts val="225"/>
              </a:spcAft>
            </a:pPr>
            <a:r>
              <a:rPr lang="en-US"/>
              <a:t>Edit Master text styles</a:t>
            </a:r>
          </a:p>
          <a:p>
            <a:pPr marL="171446" lvl="1" indent="-171446">
              <a:lnSpc>
                <a:spcPct val="110000"/>
              </a:lnSpc>
              <a:spcBef>
                <a:spcPts val="0"/>
              </a:spcBef>
              <a:spcAft>
                <a:spcPts val="225"/>
              </a:spcAft>
            </a:pPr>
            <a:r>
              <a:rPr lang="en-US"/>
              <a:t>Second level</a:t>
            </a:r>
          </a:p>
          <a:p>
            <a:pPr marL="171446" lvl="2" indent="-171446">
              <a:lnSpc>
                <a:spcPct val="110000"/>
              </a:lnSpc>
              <a:spcBef>
                <a:spcPts val="0"/>
              </a:spcBef>
              <a:spcAft>
                <a:spcPts val="225"/>
              </a:spcAft>
            </a:pPr>
            <a:r>
              <a:rPr lang="en-US"/>
              <a:t>Third level</a:t>
            </a:r>
          </a:p>
          <a:p>
            <a:pPr marL="171446" lvl="3" indent="-171446">
              <a:lnSpc>
                <a:spcPct val="110000"/>
              </a:lnSpc>
              <a:spcBef>
                <a:spcPts val="0"/>
              </a:spcBef>
              <a:spcAft>
                <a:spcPts val="225"/>
              </a:spcAft>
            </a:pPr>
            <a:r>
              <a:rPr lang="en-US"/>
              <a:t>Fourth level</a:t>
            </a:r>
          </a:p>
        </p:txBody>
      </p:sp>
      <p:grpSp>
        <p:nvGrpSpPr>
          <p:cNvPr id="19" name="Group 18">
            <a:extLst>
              <a:ext uri="{FF2B5EF4-FFF2-40B4-BE49-F238E27FC236}">
                <a16:creationId xmlns:a16="http://schemas.microsoft.com/office/drawing/2014/main" id="{6FDE6B93-3C0B-416F-8AF6-7BA06DAB9BA3}"/>
              </a:ext>
            </a:extLst>
          </p:cNvPr>
          <p:cNvGrpSpPr/>
          <p:nvPr userDrawn="1"/>
        </p:nvGrpSpPr>
        <p:grpSpPr>
          <a:xfrm>
            <a:off x="1120" y="6781800"/>
            <a:ext cx="9142880" cy="76200"/>
            <a:chOff x="0" y="0"/>
            <a:chExt cx="12190506" cy="295275"/>
          </a:xfrm>
        </p:grpSpPr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D5B7E585-898B-4829-968E-C9565D78A182}"/>
                </a:ext>
              </a:extLst>
            </p:cNvPr>
            <p:cNvSpPr/>
            <p:nvPr userDrawn="1"/>
          </p:nvSpPr>
          <p:spPr>
            <a:xfrm>
              <a:off x="0" y="0"/>
              <a:ext cx="6096000" cy="295275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350"/>
            </a:p>
          </p:txBody>
        </p:sp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A0A37CF3-8B89-4CA5-AFF9-E9F3EBD29C59}"/>
                </a:ext>
              </a:extLst>
            </p:cNvPr>
            <p:cNvSpPr/>
            <p:nvPr userDrawn="1"/>
          </p:nvSpPr>
          <p:spPr>
            <a:xfrm>
              <a:off x="6097494" y="0"/>
              <a:ext cx="2031004" cy="295275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350"/>
            </a:p>
          </p:txBody>
        </p:sp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0BCC67F4-665B-421C-980A-2662904DE14F}"/>
                </a:ext>
              </a:extLst>
            </p:cNvPr>
            <p:cNvSpPr/>
            <p:nvPr userDrawn="1"/>
          </p:nvSpPr>
          <p:spPr>
            <a:xfrm>
              <a:off x="8128498" y="0"/>
              <a:ext cx="2031004" cy="295275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350"/>
            </a:p>
          </p:txBody>
        </p:sp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586A3566-E47D-4390-B2F7-6C9EF17DA01A}"/>
                </a:ext>
              </a:extLst>
            </p:cNvPr>
            <p:cNvSpPr/>
            <p:nvPr userDrawn="1"/>
          </p:nvSpPr>
          <p:spPr>
            <a:xfrm>
              <a:off x="10159502" y="0"/>
              <a:ext cx="2031004" cy="295275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350"/>
            </a:p>
          </p:txBody>
        </p:sp>
      </p:grpSp>
      <p:sp>
        <p:nvSpPr>
          <p:cNvPr id="24" name="Text Placeholder 6">
            <a:extLst>
              <a:ext uri="{FF2B5EF4-FFF2-40B4-BE49-F238E27FC236}">
                <a16:creationId xmlns:a16="http://schemas.microsoft.com/office/drawing/2014/main" id="{BA1019F7-D1E1-4BBE-A194-C5301C1350C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57404" y="6547763"/>
            <a:ext cx="7052072" cy="120610"/>
          </a:xfrm>
        </p:spPr>
        <p:txBody>
          <a:bodyPr vert="horz" wrap="square" lIns="0" tIns="0" rIns="0" bIns="0" rtlCol="0" anchor="b">
            <a:spAutoFit/>
          </a:bodyPr>
          <a:lstStyle>
            <a:lvl1pPr marL="0" indent="0">
              <a:buNone/>
              <a:defRPr lang="en-US" sz="750" dirty="0" smtClean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lang="en-US" sz="1050" dirty="0" smtClean="0">
                <a:latin typeface="+mj-lt"/>
              </a:defRPr>
            </a:lvl2pPr>
            <a:lvl3pPr>
              <a:defRPr lang="en-US" sz="1050" dirty="0" smtClean="0">
                <a:latin typeface="+mj-lt"/>
              </a:defRPr>
            </a:lvl3pPr>
            <a:lvl4pPr>
              <a:defRPr lang="en-US" sz="1050" dirty="0" smtClean="0">
                <a:latin typeface="+mj-lt"/>
              </a:defRPr>
            </a:lvl4pPr>
            <a:lvl5pPr>
              <a:defRPr lang="en-GB" sz="1050" dirty="0">
                <a:latin typeface="+mj-lt"/>
              </a:defRPr>
            </a:lvl5pPr>
          </a:lstStyle>
          <a:p>
            <a:pPr marL="171446" lvl="0" indent="-171446">
              <a:lnSpc>
                <a:spcPct val="110000"/>
              </a:lnSpc>
              <a:spcBef>
                <a:spcPts val="0"/>
              </a:spcBef>
              <a:spcAft>
                <a:spcPts val="225"/>
              </a:spcAft>
            </a:pPr>
            <a:r>
              <a:rPr lang="en-US" dirty="0"/>
              <a:t>SOURCE:</a:t>
            </a:r>
          </a:p>
        </p:txBody>
      </p:sp>
      <p:pic>
        <p:nvPicPr>
          <p:cNvPr id="25" name="Picture 24" descr="ALMA">
            <a:extLst>
              <a:ext uri="{FF2B5EF4-FFF2-40B4-BE49-F238E27FC236}">
                <a16:creationId xmlns:a16="http://schemas.microsoft.com/office/drawing/2014/main" id="{43934869-7EE8-463F-972B-10F131D7915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305637" y="6368553"/>
            <a:ext cx="680959" cy="2998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12129551"/>
      </p:ext>
    </p:extLst>
  </p:cSld>
  <p:clrMapOvr>
    <a:masterClrMapping/>
  </p:clrMapOvr>
  <p:hf hdr="0" ftr="0" dt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520052593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Pictur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0"/>
          </p:nvPr>
        </p:nvSpPr>
        <p:spPr>
          <a:xfrm>
            <a:off x="3421120" y="76202"/>
            <a:ext cx="5722883" cy="6781799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42927" y="454544"/>
            <a:ext cx="1857375" cy="872547"/>
          </a:xfrm>
        </p:spPr>
        <p:txBody>
          <a:bodyPr wrap="square" lIns="0" tIns="0" rIns="0" bIns="0" anchor="t">
            <a:spAutoFit/>
          </a:bodyPr>
          <a:lstStyle>
            <a:lvl1pPr>
              <a:defRPr sz="2100" b="1" baseline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7" name="Text Placeholder 6"/>
          <p:cNvSpPr>
            <a:spLocks noGrp="1"/>
          </p:cNvSpPr>
          <p:nvPr>
            <p:ph type="body" sz="quarter" idx="11"/>
          </p:nvPr>
        </p:nvSpPr>
        <p:spPr>
          <a:xfrm>
            <a:off x="542929" y="2365631"/>
            <a:ext cx="2413109" cy="778996"/>
          </a:xfrm>
        </p:spPr>
        <p:txBody>
          <a:bodyPr vert="horz" wrap="square" lIns="0" tIns="0" rIns="0" bIns="0" rtlCol="0">
            <a:spAutoFit/>
          </a:bodyPr>
          <a:lstStyle>
            <a:lvl1pPr marL="0" indent="0">
              <a:buNone/>
              <a:defRPr lang="en-US" sz="105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</a:defRPr>
            </a:lvl1pPr>
            <a:lvl2pPr>
              <a:defRPr lang="en-US" sz="105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</a:defRPr>
            </a:lvl2pPr>
            <a:lvl3pPr>
              <a:defRPr lang="en-US" sz="105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</a:defRPr>
            </a:lvl3pPr>
            <a:lvl4pPr>
              <a:defRPr lang="en-US" sz="105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</a:defRPr>
            </a:lvl4pPr>
          </a:lstStyle>
          <a:p>
            <a:pPr marL="171446" lvl="0" indent="-171446">
              <a:lnSpc>
                <a:spcPct val="110000"/>
              </a:lnSpc>
              <a:spcBef>
                <a:spcPts val="0"/>
              </a:spcBef>
              <a:spcAft>
                <a:spcPts val="225"/>
              </a:spcAft>
            </a:pPr>
            <a:r>
              <a:rPr lang="en-US"/>
              <a:t>Edit Master text styles</a:t>
            </a:r>
          </a:p>
          <a:p>
            <a:pPr marL="171446" lvl="1" indent="-171446">
              <a:lnSpc>
                <a:spcPct val="110000"/>
              </a:lnSpc>
              <a:spcBef>
                <a:spcPts val="0"/>
              </a:spcBef>
              <a:spcAft>
                <a:spcPts val="225"/>
              </a:spcAft>
            </a:pPr>
            <a:r>
              <a:rPr lang="en-US"/>
              <a:t>Second level</a:t>
            </a:r>
          </a:p>
          <a:p>
            <a:pPr marL="171446" lvl="2" indent="-171446">
              <a:lnSpc>
                <a:spcPct val="110000"/>
              </a:lnSpc>
              <a:spcBef>
                <a:spcPts val="0"/>
              </a:spcBef>
              <a:spcAft>
                <a:spcPts val="225"/>
              </a:spcAft>
            </a:pPr>
            <a:r>
              <a:rPr lang="en-US"/>
              <a:t>Third level</a:t>
            </a:r>
          </a:p>
          <a:p>
            <a:pPr marL="171446" lvl="3" indent="-171446">
              <a:lnSpc>
                <a:spcPct val="110000"/>
              </a:lnSpc>
              <a:spcBef>
                <a:spcPts val="0"/>
              </a:spcBef>
              <a:spcAft>
                <a:spcPts val="225"/>
              </a:spcAft>
            </a:pPr>
            <a:r>
              <a:rPr lang="en-US"/>
              <a:t>Fourth level</a:t>
            </a:r>
          </a:p>
        </p:txBody>
      </p:sp>
      <p:sp>
        <p:nvSpPr>
          <p:cNvPr id="18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3782739" y="454543"/>
            <a:ext cx="2901840" cy="706347"/>
          </a:xfrm>
        </p:spPr>
        <p:txBody>
          <a:bodyPr vert="horz" wrap="square" lIns="0" tIns="0" rIns="0" bIns="0" rtlCol="0" anchor="t">
            <a:spAutoFit/>
          </a:bodyPr>
          <a:lstStyle>
            <a:lvl1pPr marL="0" indent="0">
              <a:defRPr lang="en-US" sz="2550" b="1" baseline="0" dirty="0" smtClean="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</a:lstStyle>
          <a:p>
            <a:pPr lvl="0">
              <a:spcBef>
                <a:spcPct val="0"/>
              </a:spcBef>
              <a:buNone/>
            </a:pPr>
            <a:r>
              <a:rPr lang="en-US"/>
              <a:t>Edit Master text styles</a:t>
            </a:r>
          </a:p>
        </p:txBody>
      </p:sp>
      <p:grpSp>
        <p:nvGrpSpPr>
          <p:cNvPr id="19" name="Group 18">
            <a:extLst>
              <a:ext uri="{FF2B5EF4-FFF2-40B4-BE49-F238E27FC236}">
                <a16:creationId xmlns:a16="http://schemas.microsoft.com/office/drawing/2014/main" id="{B8E38C39-F41E-436F-89AA-B8ABA875F163}"/>
              </a:ext>
            </a:extLst>
          </p:cNvPr>
          <p:cNvGrpSpPr/>
          <p:nvPr userDrawn="1"/>
        </p:nvGrpSpPr>
        <p:grpSpPr>
          <a:xfrm>
            <a:off x="1120" y="6781800"/>
            <a:ext cx="9142880" cy="76200"/>
            <a:chOff x="0" y="0"/>
            <a:chExt cx="12190506" cy="295275"/>
          </a:xfrm>
        </p:grpSpPr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556B8B37-18FA-48E5-A005-7F12D584F0DB}"/>
                </a:ext>
              </a:extLst>
            </p:cNvPr>
            <p:cNvSpPr/>
            <p:nvPr userDrawn="1"/>
          </p:nvSpPr>
          <p:spPr>
            <a:xfrm>
              <a:off x="0" y="0"/>
              <a:ext cx="6096000" cy="295275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350"/>
            </a:p>
          </p:txBody>
        </p:sp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66A0C315-F0C2-4448-AB16-F35441B63D5C}"/>
                </a:ext>
              </a:extLst>
            </p:cNvPr>
            <p:cNvSpPr/>
            <p:nvPr userDrawn="1"/>
          </p:nvSpPr>
          <p:spPr>
            <a:xfrm>
              <a:off x="6097494" y="0"/>
              <a:ext cx="2031004" cy="295275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350"/>
            </a:p>
          </p:txBody>
        </p:sp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237B9B5A-BB97-419D-983B-C59C73E56073}"/>
                </a:ext>
              </a:extLst>
            </p:cNvPr>
            <p:cNvSpPr/>
            <p:nvPr userDrawn="1"/>
          </p:nvSpPr>
          <p:spPr>
            <a:xfrm>
              <a:off x="8128498" y="0"/>
              <a:ext cx="2031004" cy="295275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350"/>
            </a:p>
          </p:txBody>
        </p:sp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536FF1C0-5F83-4BBF-8DC8-503EA03C5E86}"/>
                </a:ext>
              </a:extLst>
            </p:cNvPr>
            <p:cNvSpPr/>
            <p:nvPr userDrawn="1"/>
          </p:nvSpPr>
          <p:spPr>
            <a:xfrm>
              <a:off x="10159502" y="0"/>
              <a:ext cx="2031004" cy="295275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350"/>
            </a:p>
          </p:txBody>
        </p:sp>
      </p:grpSp>
      <p:sp>
        <p:nvSpPr>
          <p:cNvPr id="24" name="Text Placeholder 6">
            <a:extLst>
              <a:ext uri="{FF2B5EF4-FFF2-40B4-BE49-F238E27FC236}">
                <a16:creationId xmlns:a16="http://schemas.microsoft.com/office/drawing/2014/main" id="{F5F12874-3115-413C-A470-F801517D663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57404" y="6547763"/>
            <a:ext cx="7052072" cy="120610"/>
          </a:xfrm>
        </p:spPr>
        <p:txBody>
          <a:bodyPr vert="horz" wrap="square" lIns="0" tIns="0" rIns="0" bIns="0" rtlCol="0" anchor="b">
            <a:spAutoFit/>
          </a:bodyPr>
          <a:lstStyle>
            <a:lvl1pPr marL="0" indent="0">
              <a:buNone/>
              <a:defRPr lang="en-US" sz="750" dirty="0" smtClean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lang="en-US" sz="1050" dirty="0" smtClean="0">
                <a:latin typeface="+mj-lt"/>
              </a:defRPr>
            </a:lvl2pPr>
            <a:lvl3pPr>
              <a:defRPr lang="en-US" sz="1050" dirty="0" smtClean="0">
                <a:latin typeface="+mj-lt"/>
              </a:defRPr>
            </a:lvl3pPr>
            <a:lvl4pPr>
              <a:defRPr lang="en-US" sz="1050" dirty="0" smtClean="0">
                <a:latin typeface="+mj-lt"/>
              </a:defRPr>
            </a:lvl4pPr>
            <a:lvl5pPr>
              <a:defRPr lang="en-GB" sz="1050" dirty="0">
                <a:latin typeface="+mj-lt"/>
              </a:defRPr>
            </a:lvl5pPr>
          </a:lstStyle>
          <a:p>
            <a:pPr marL="171446" lvl="0" indent="-171446">
              <a:lnSpc>
                <a:spcPct val="110000"/>
              </a:lnSpc>
              <a:spcBef>
                <a:spcPts val="0"/>
              </a:spcBef>
              <a:spcAft>
                <a:spcPts val="225"/>
              </a:spcAft>
            </a:pPr>
            <a:r>
              <a:rPr lang="en-US" dirty="0"/>
              <a:t>SOURCE:</a:t>
            </a:r>
          </a:p>
        </p:txBody>
      </p:sp>
      <p:pic>
        <p:nvPicPr>
          <p:cNvPr id="25" name="Picture 24" descr="ALMA">
            <a:extLst>
              <a:ext uri="{FF2B5EF4-FFF2-40B4-BE49-F238E27FC236}">
                <a16:creationId xmlns:a16="http://schemas.microsoft.com/office/drawing/2014/main" id="{3D4589E5-FBF8-44F0-855C-F06333466E7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305637" y="6368553"/>
            <a:ext cx="680959" cy="2998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83993153"/>
      </p:ext>
    </p:extLst>
  </p:cSld>
  <p:clrMapOvr>
    <a:masterClrMapping/>
  </p:clrMapOvr>
  <p:hf hdr="0" ftr="0" dt="0"/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Dark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/>
          <p:cNvSpPr/>
          <p:nvPr userDrawn="1"/>
        </p:nvSpPr>
        <p:spPr>
          <a:xfrm>
            <a:off x="0" y="4"/>
            <a:ext cx="4572000" cy="6857999"/>
          </a:xfrm>
          <a:prstGeom prst="rect">
            <a:avLst/>
          </a:prstGeom>
          <a:solidFill>
            <a:schemeClr val="tx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35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42928" y="454548"/>
            <a:ext cx="2413109" cy="581698"/>
          </a:xfrm>
        </p:spPr>
        <p:txBody>
          <a:bodyPr wrap="square" lIns="0" tIns="0" rIns="0" bIns="0" anchor="t">
            <a:spAutoFit/>
          </a:bodyPr>
          <a:lstStyle>
            <a:lvl1pPr>
              <a:defRPr sz="2100" b="1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>
          <a:xfrm>
            <a:off x="542929" y="3205163"/>
            <a:ext cx="2413109" cy="778996"/>
          </a:xfrm>
        </p:spPr>
        <p:txBody>
          <a:bodyPr vert="horz" wrap="square" lIns="0" tIns="0" rIns="0" bIns="0" rtlCol="0">
            <a:spAutoFit/>
          </a:bodyPr>
          <a:lstStyle>
            <a:lvl1pPr marL="0" indent="0">
              <a:buNone/>
              <a:defRPr lang="en-US" sz="1050" dirty="0" smtClean="0">
                <a:solidFill>
                  <a:schemeClr val="bg1"/>
                </a:solidFill>
                <a:latin typeface="+mj-lt"/>
              </a:defRPr>
            </a:lvl1pPr>
            <a:lvl2pPr marL="0" indent="0">
              <a:buNone/>
              <a:defRPr lang="en-US" sz="1050" dirty="0" smtClean="0">
                <a:solidFill>
                  <a:schemeClr val="bg1"/>
                </a:solidFill>
                <a:latin typeface="+mj-lt"/>
              </a:defRPr>
            </a:lvl2pPr>
            <a:lvl3pPr marL="171446" indent="0">
              <a:buNone/>
              <a:defRPr lang="en-US" sz="1050" dirty="0" smtClean="0">
                <a:solidFill>
                  <a:schemeClr val="bg1"/>
                </a:solidFill>
                <a:latin typeface="+mj-lt"/>
              </a:defRPr>
            </a:lvl3pPr>
            <a:lvl4pPr marL="342892" indent="0">
              <a:buNone/>
              <a:defRPr lang="en-US" sz="1050" dirty="0" smtClean="0">
                <a:solidFill>
                  <a:schemeClr val="bg1"/>
                </a:solidFill>
                <a:latin typeface="+mj-lt"/>
              </a:defRPr>
            </a:lvl4pPr>
          </a:lstStyle>
          <a:p>
            <a:pPr marL="171446" lvl="0" indent="-171446">
              <a:lnSpc>
                <a:spcPct val="110000"/>
              </a:lnSpc>
              <a:spcBef>
                <a:spcPts val="0"/>
              </a:spcBef>
              <a:spcAft>
                <a:spcPts val="225"/>
              </a:spcAft>
            </a:pPr>
            <a:r>
              <a:rPr lang="en-US"/>
              <a:t>Edit Master text styles</a:t>
            </a:r>
          </a:p>
          <a:p>
            <a:pPr marL="171446" lvl="1" indent="-171446">
              <a:lnSpc>
                <a:spcPct val="110000"/>
              </a:lnSpc>
              <a:spcBef>
                <a:spcPts val="0"/>
              </a:spcBef>
              <a:spcAft>
                <a:spcPts val="225"/>
              </a:spcAft>
            </a:pPr>
            <a:r>
              <a:rPr lang="en-US"/>
              <a:t>Second level</a:t>
            </a:r>
          </a:p>
          <a:p>
            <a:pPr marL="171446" lvl="2" indent="-171446">
              <a:lnSpc>
                <a:spcPct val="110000"/>
              </a:lnSpc>
              <a:spcBef>
                <a:spcPts val="0"/>
              </a:spcBef>
              <a:spcAft>
                <a:spcPts val="225"/>
              </a:spcAft>
            </a:pPr>
            <a:r>
              <a:rPr lang="en-US"/>
              <a:t>Third level</a:t>
            </a:r>
          </a:p>
          <a:p>
            <a:pPr marL="171446" lvl="3" indent="-171446">
              <a:lnSpc>
                <a:spcPct val="110000"/>
              </a:lnSpc>
              <a:spcBef>
                <a:spcPts val="0"/>
              </a:spcBef>
              <a:spcAft>
                <a:spcPts val="225"/>
              </a:spcAft>
            </a:pPr>
            <a:r>
              <a:rPr lang="en-US"/>
              <a:t>Fourth level</a:t>
            </a:r>
          </a:p>
        </p:txBody>
      </p:sp>
      <p:sp>
        <p:nvSpPr>
          <p:cNvPr id="17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6320456" y="1895612"/>
            <a:ext cx="2413109" cy="168829"/>
          </a:xfrm>
        </p:spPr>
        <p:txBody>
          <a:bodyPr vert="horz" wrap="square" lIns="0" tIns="0" rIns="0" bIns="0" rtlCol="0">
            <a:spAutoFit/>
          </a:bodyPr>
          <a:lstStyle>
            <a:lvl1pPr marL="0" indent="0">
              <a:buNone/>
              <a:defRPr lang="en-US" sz="1050" dirty="0" smtClean="0">
                <a:latin typeface="+mj-lt"/>
              </a:defRPr>
            </a:lvl1pPr>
          </a:lstStyle>
          <a:p>
            <a:pPr marL="171446" lvl="0" indent="-171446">
              <a:lnSpc>
                <a:spcPct val="110000"/>
              </a:lnSpc>
              <a:spcBef>
                <a:spcPts val="0"/>
              </a:spcBef>
              <a:spcAft>
                <a:spcPts val="225"/>
              </a:spcAft>
            </a:pPr>
            <a:r>
              <a:rPr lang="en-US"/>
              <a:t>Edit Master text styles</a:t>
            </a:r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3" hasCustomPrompt="1"/>
          </p:nvPr>
        </p:nvSpPr>
        <p:spPr>
          <a:xfrm>
            <a:off x="5226273" y="1495132"/>
            <a:ext cx="913865" cy="337528"/>
          </a:xfrm>
        </p:spPr>
        <p:txBody>
          <a:bodyPr vert="horz" wrap="square" lIns="0" tIns="0" rIns="0" bIns="0" rtlCol="0">
            <a:spAutoFit/>
          </a:bodyPr>
          <a:lstStyle>
            <a:lvl1pPr marL="0" indent="0" algn="r">
              <a:buNone/>
              <a:defRPr lang="en-GB" sz="2100" b="0" dirty="0">
                <a:solidFill>
                  <a:schemeClr val="tx1">
                    <a:lumMod val="75000"/>
                    <a:lumOff val="25000"/>
                  </a:schemeClr>
                </a:solidFill>
                <a:latin typeface="Arial Black" panose="020B0A04020102020204" pitchFamily="34" charset="0"/>
              </a:defRPr>
            </a:lvl1pPr>
          </a:lstStyle>
          <a:p>
            <a:pPr marL="171446" lvl="0" indent="-171446">
              <a:lnSpc>
                <a:spcPct val="110000"/>
              </a:lnSpc>
              <a:spcAft>
                <a:spcPts val="225"/>
              </a:spcAft>
            </a:pPr>
            <a:r>
              <a:rPr lang="en-US" dirty="0"/>
              <a:t>10AM</a:t>
            </a:r>
            <a:endParaRPr lang="en-GB" dirty="0"/>
          </a:p>
        </p:txBody>
      </p:sp>
      <p:sp>
        <p:nvSpPr>
          <p:cNvPr id="19" name="Text Placeholder 21"/>
          <p:cNvSpPr>
            <a:spLocks noGrp="1"/>
          </p:cNvSpPr>
          <p:nvPr>
            <p:ph type="body" sz="quarter" idx="16"/>
          </p:nvPr>
        </p:nvSpPr>
        <p:spPr>
          <a:xfrm>
            <a:off x="6320456" y="1495131"/>
            <a:ext cx="2413397" cy="163956"/>
          </a:xfrm>
        </p:spPr>
        <p:txBody>
          <a:bodyPr vert="horz" wrap="square" lIns="0" tIns="0" rIns="0" bIns="0" rtlCol="0">
            <a:spAutoFit/>
          </a:bodyPr>
          <a:lstStyle>
            <a:lvl1pPr marL="0" indent="0">
              <a:buNone/>
              <a:defRPr lang="en-US" sz="1050" b="1" smtClean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lang="en-US" sz="1050" smtClean="0">
                <a:latin typeface="+mj-lt"/>
              </a:defRPr>
            </a:lvl2pPr>
            <a:lvl3pPr>
              <a:defRPr lang="en-US" sz="1050" smtClean="0">
                <a:latin typeface="+mj-lt"/>
              </a:defRPr>
            </a:lvl3pPr>
            <a:lvl4pPr>
              <a:defRPr lang="en-US" sz="1050" smtClean="0">
                <a:latin typeface="+mj-lt"/>
              </a:defRPr>
            </a:lvl4pPr>
            <a:lvl5pPr>
              <a:defRPr lang="en-GB" sz="1050">
                <a:latin typeface="+mj-lt"/>
              </a:defRPr>
            </a:lvl5pPr>
          </a:lstStyle>
          <a:p>
            <a:pPr marL="171446" lvl="0" indent="-171446">
              <a:lnSpc>
                <a:spcPct val="110000"/>
              </a:lnSpc>
              <a:spcAft>
                <a:spcPts val="225"/>
              </a:spcAft>
            </a:pPr>
            <a:r>
              <a:rPr lang="en-US"/>
              <a:t>Edit Master text styles</a:t>
            </a:r>
          </a:p>
        </p:txBody>
      </p:sp>
      <p:sp>
        <p:nvSpPr>
          <p:cNvPr id="20" name="Text Placeholder 5"/>
          <p:cNvSpPr>
            <a:spLocks noGrp="1"/>
          </p:cNvSpPr>
          <p:nvPr>
            <p:ph type="body" sz="quarter" idx="17"/>
          </p:nvPr>
        </p:nvSpPr>
        <p:spPr>
          <a:xfrm>
            <a:off x="6320456" y="3053082"/>
            <a:ext cx="2413109" cy="168829"/>
          </a:xfrm>
        </p:spPr>
        <p:txBody>
          <a:bodyPr vert="horz" wrap="square" lIns="0" tIns="0" rIns="0" bIns="0" rtlCol="0">
            <a:spAutoFit/>
          </a:bodyPr>
          <a:lstStyle>
            <a:lvl1pPr marL="0" indent="0">
              <a:buNone/>
              <a:defRPr lang="en-US" sz="1050" dirty="0" smtClean="0">
                <a:latin typeface="+mj-lt"/>
              </a:defRPr>
            </a:lvl1pPr>
          </a:lstStyle>
          <a:p>
            <a:pPr marL="171446" lvl="0" indent="-171446">
              <a:lnSpc>
                <a:spcPct val="110000"/>
              </a:lnSpc>
              <a:spcBef>
                <a:spcPts val="0"/>
              </a:spcBef>
              <a:spcAft>
                <a:spcPts val="225"/>
              </a:spcAft>
            </a:pPr>
            <a:r>
              <a:rPr lang="en-US"/>
              <a:t>Edit Master text styles</a:t>
            </a:r>
          </a:p>
        </p:txBody>
      </p:sp>
      <p:sp>
        <p:nvSpPr>
          <p:cNvPr id="21" name="Text Placeholder 17"/>
          <p:cNvSpPr>
            <a:spLocks noGrp="1"/>
          </p:cNvSpPr>
          <p:nvPr>
            <p:ph type="body" sz="quarter" idx="18" hasCustomPrompt="1"/>
          </p:nvPr>
        </p:nvSpPr>
        <p:spPr>
          <a:xfrm>
            <a:off x="5226273" y="2652606"/>
            <a:ext cx="913865" cy="337528"/>
          </a:xfrm>
        </p:spPr>
        <p:txBody>
          <a:bodyPr vert="horz" wrap="square" lIns="0" tIns="0" rIns="0" bIns="0" rtlCol="0">
            <a:spAutoFit/>
          </a:bodyPr>
          <a:lstStyle>
            <a:lvl1pPr marL="0" indent="0" algn="r">
              <a:buNone/>
              <a:defRPr lang="en-GB" sz="2100" b="0" dirty="0">
                <a:solidFill>
                  <a:schemeClr val="tx1">
                    <a:lumMod val="75000"/>
                    <a:lumOff val="25000"/>
                  </a:schemeClr>
                </a:solidFill>
                <a:latin typeface="Arial Black" panose="020B0A04020102020204" pitchFamily="34" charset="0"/>
              </a:defRPr>
            </a:lvl1pPr>
          </a:lstStyle>
          <a:p>
            <a:pPr marL="171446" lvl="0" indent="-171446">
              <a:lnSpc>
                <a:spcPct val="110000"/>
              </a:lnSpc>
              <a:spcAft>
                <a:spcPts val="225"/>
              </a:spcAft>
            </a:pPr>
            <a:r>
              <a:rPr lang="en-US" dirty="0"/>
              <a:t>12PM</a:t>
            </a:r>
            <a:endParaRPr lang="en-GB" dirty="0"/>
          </a:p>
        </p:txBody>
      </p:sp>
      <p:sp>
        <p:nvSpPr>
          <p:cNvPr id="22" name="Text Placeholder 21"/>
          <p:cNvSpPr>
            <a:spLocks noGrp="1"/>
          </p:cNvSpPr>
          <p:nvPr>
            <p:ph type="body" sz="quarter" idx="19"/>
          </p:nvPr>
        </p:nvSpPr>
        <p:spPr>
          <a:xfrm>
            <a:off x="6320456" y="2652601"/>
            <a:ext cx="2413397" cy="163956"/>
          </a:xfrm>
        </p:spPr>
        <p:txBody>
          <a:bodyPr vert="horz" wrap="square" lIns="0" tIns="0" rIns="0" bIns="0" rtlCol="0">
            <a:spAutoFit/>
          </a:bodyPr>
          <a:lstStyle>
            <a:lvl1pPr marL="0" indent="0">
              <a:buNone/>
              <a:defRPr lang="en-US" sz="1050" b="1" smtClean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lang="en-US" sz="1050" smtClean="0">
                <a:latin typeface="+mj-lt"/>
              </a:defRPr>
            </a:lvl2pPr>
            <a:lvl3pPr>
              <a:defRPr lang="en-US" sz="1050" smtClean="0">
                <a:latin typeface="+mj-lt"/>
              </a:defRPr>
            </a:lvl3pPr>
            <a:lvl4pPr>
              <a:defRPr lang="en-US" sz="1050" smtClean="0">
                <a:latin typeface="+mj-lt"/>
              </a:defRPr>
            </a:lvl4pPr>
            <a:lvl5pPr>
              <a:defRPr lang="en-GB" sz="1050">
                <a:latin typeface="+mj-lt"/>
              </a:defRPr>
            </a:lvl5pPr>
          </a:lstStyle>
          <a:p>
            <a:pPr marL="171446" lvl="0" indent="-171446">
              <a:lnSpc>
                <a:spcPct val="110000"/>
              </a:lnSpc>
              <a:spcAft>
                <a:spcPts val="225"/>
              </a:spcAft>
            </a:pPr>
            <a:r>
              <a:rPr lang="en-US"/>
              <a:t>Edit Master text styles</a:t>
            </a:r>
          </a:p>
        </p:txBody>
      </p:sp>
      <p:sp>
        <p:nvSpPr>
          <p:cNvPr id="23" name="Text Placeholder 5"/>
          <p:cNvSpPr>
            <a:spLocks noGrp="1"/>
          </p:cNvSpPr>
          <p:nvPr>
            <p:ph type="body" sz="quarter" idx="20"/>
          </p:nvPr>
        </p:nvSpPr>
        <p:spPr>
          <a:xfrm>
            <a:off x="6320456" y="4265468"/>
            <a:ext cx="2413109" cy="168829"/>
          </a:xfrm>
        </p:spPr>
        <p:txBody>
          <a:bodyPr vert="horz" wrap="square" lIns="0" tIns="0" rIns="0" bIns="0" rtlCol="0">
            <a:spAutoFit/>
          </a:bodyPr>
          <a:lstStyle>
            <a:lvl1pPr marL="0" indent="0">
              <a:buNone/>
              <a:defRPr lang="en-US" sz="1050" dirty="0" smtClean="0">
                <a:latin typeface="+mj-lt"/>
              </a:defRPr>
            </a:lvl1pPr>
          </a:lstStyle>
          <a:p>
            <a:pPr marL="171446" lvl="0" indent="-171446">
              <a:lnSpc>
                <a:spcPct val="110000"/>
              </a:lnSpc>
              <a:spcBef>
                <a:spcPts val="0"/>
              </a:spcBef>
              <a:spcAft>
                <a:spcPts val="225"/>
              </a:spcAft>
            </a:pPr>
            <a:r>
              <a:rPr lang="en-US"/>
              <a:t>Edit Master text styles</a:t>
            </a:r>
          </a:p>
        </p:txBody>
      </p:sp>
      <p:sp>
        <p:nvSpPr>
          <p:cNvPr id="24" name="Text Placeholder 17"/>
          <p:cNvSpPr>
            <a:spLocks noGrp="1"/>
          </p:cNvSpPr>
          <p:nvPr>
            <p:ph type="body" sz="quarter" idx="21" hasCustomPrompt="1"/>
          </p:nvPr>
        </p:nvSpPr>
        <p:spPr>
          <a:xfrm>
            <a:off x="5226273" y="3864992"/>
            <a:ext cx="913865" cy="337528"/>
          </a:xfrm>
        </p:spPr>
        <p:txBody>
          <a:bodyPr vert="horz" wrap="square" lIns="0" tIns="0" rIns="0" bIns="0" rtlCol="0">
            <a:spAutoFit/>
          </a:bodyPr>
          <a:lstStyle>
            <a:lvl1pPr marL="0" indent="0" algn="r">
              <a:buNone/>
              <a:defRPr lang="en-GB" sz="2100" b="0" dirty="0">
                <a:solidFill>
                  <a:schemeClr val="tx1">
                    <a:lumMod val="75000"/>
                    <a:lumOff val="25000"/>
                  </a:schemeClr>
                </a:solidFill>
                <a:latin typeface="Arial Black" panose="020B0A04020102020204" pitchFamily="34" charset="0"/>
              </a:defRPr>
            </a:lvl1pPr>
          </a:lstStyle>
          <a:p>
            <a:pPr marL="171446" lvl="0" indent="-171446">
              <a:lnSpc>
                <a:spcPct val="110000"/>
              </a:lnSpc>
              <a:spcAft>
                <a:spcPts val="225"/>
              </a:spcAft>
            </a:pPr>
            <a:r>
              <a:rPr lang="en-US" dirty="0"/>
              <a:t>3PM</a:t>
            </a:r>
            <a:endParaRPr lang="en-GB" dirty="0"/>
          </a:p>
        </p:txBody>
      </p:sp>
      <p:sp>
        <p:nvSpPr>
          <p:cNvPr id="25" name="Text Placeholder 21"/>
          <p:cNvSpPr>
            <a:spLocks noGrp="1"/>
          </p:cNvSpPr>
          <p:nvPr>
            <p:ph type="body" sz="quarter" idx="22"/>
          </p:nvPr>
        </p:nvSpPr>
        <p:spPr>
          <a:xfrm>
            <a:off x="6320456" y="3864987"/>
            <a:ext cx="2413397" cy="163956"/>
          </a:xfrm>
        </p:spPr>
        <p:txBody>
          <a:bodyPr vert="horz" wrap="square" lIns="0" tIns="0" rIns="0" bIns="0" rtlCol="0">
            <a:spAutoFit/>
          </a:bodyPr>
          <a:lstStyle>
            <a:lvl1pPr marL="0" indent="0">
              <a:buNone/>
              <a:defRPr lang="en-US" sz="1050" b="1" smtClean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lang="en-US" sz="1050" smtClean="0">
                <a:latin typeface="+mj-lt"/>
              </a:defRPr>
            </a:lvl2pPr>
            <a:lvl3pPr>
              <a:defRPr lang="en-US" sz="1050" smtClean="0">
                <a:latin typeface="+mj-lt"/>
              </a:defRPr>
            </a:lvl3pPr>
            <a:lvl4pPr>
              <a:defRPr lang="en-US" sz="1050" smtClean="0">
                <a:latin typeface="+mj-lt"/>
              </a:defRPr>
            </a:lvl4pPr>
            <a:lvl5pPr>
              <a:defRPr lang="en-GB" sz="1050">
                <a:latin typeface="+mj-lt"/>
              </a:defRPr>
            </a:lvl5pPr>
          </a:lstStyle>
          <a:p>
            <a:pPr marL="171446" lvl="0" indent="-171446">
              <a:lnSpc>
                <a:spcPct val="110000"/>
              </a:lnSpc>
              <a:spcAft>
                <a:spcPts val="225"/>
              </a:spcAft>
            </a:pPr>
            <a:r>
              <a:rPr lang="en-US"/>
              <a:t>Edit Master text styles</a:t>
            </a:r>
          </a:p>
        </p:txBody>
      </p:sp>
      <p:sp>
        <p:nvSpPr>
          <p:cNvPr id="26" name="Text Placeholder 5"/>
          <p:cNvSpPr>
            <a:spLocks noGrp="1"/>
          </p:cNvSpPr>
          <p:nvPr>
            <p:ph type="body" sz="quarter" idx="23"/>
          </p:nvPr>
        </p:nvSpPr>
        <p:spPr>
          <a:xfrm>
            <a:off x="6320456" y="5419965"/>
            <a:ext cx="2413109" cy="168829"/>
          </a:xfrm>
        </p:spPr>
        <p:txBody>
          <a:bodyPr vert="horz" wrap="square" lIns="0" tIns="0" rIns="0" bIns="0" rtlCol="0">
            <a:spAutoFit/>
          </a:bodyPr>
          <a:lstStyle>
            <a:lvl1pPr marL="0" indent="0">
              <a:buNone/>
              <a:defRPr lang="en-US" sz="1050" dirty="0" smtClean="0">
                <a:latin typeface="+mj-lt"/>
              </a:defRPr>
            </a:lvl1pPr>
          </a:lstStyle>
          <a:p>
            <a:pPr marL="171446" lvl="0" indent="-171446">
              <a:lnSpc>
                <a:spcPct val="110000"/>
              </a:lnSpc>
              <a:spcBef>
                <a:spcPts val="0"/>
              </a:spcBef>
              <a:spcAft>
                <a:spcPts val="225"/>
              </a:spcAft>
            </a:pPr>
            <a:r>
              <a:rPr lang="en-US"/>
              <a:t>Edit Master text styles</a:t>
            </a:r>
          </a:p>
        </p:txBody>
      </p:sp>
      <p:sp>
        <p:nvSpPr>
          <p:cNvPr id="27" name="Text Placeholder 17"/>
          <p:cNvSpPr>
            <a:spLocks noGrp="1"/>
          </p:cNvSpPr>
          <p:nvPr>
            <p:ph type="body" sz="quarter" idx="24" hasCustomPrompt="1"/>
          </p:nvPr>
        </p:nvSpPr>
        <p:spPr>
          <a:xfrm>
            <a:off x="5226273" y="5019489"/>
            <a:ext cx="913865" cy="337528"/>
          </a:xfrm>
        </p:spPr>
        <p:txBody>
          <a:bodyPr vert="horz" wrap="square" lIns="0" tIns="0" rIns="0" bIns="0" rtlCol="0">
            <a:spAutoFit/>
          </a:bodyPr>
          <a:lstStyle>
            <a:lvl1pPr marL="0" indent="0" algn="r">
              <a:buNone/>
              <a:defRPr lang="en-GB" sz="2100" b="0" dirty="0">
                <a:solidFill>
                  <a:schemeClr val="tx1">
                    <a:lumMod val="75000"/>
                    <a:lumOff val="25000"/>
                  </a:schemeClr>
                </a:solidFill>
                <a:latin typeface="Arial Black" panose="020B0A04020102020204" pitchFamily="34" charset="0"/>
              </a:defRPr>
            </a:lvl1pPr>
          </a:lstStyle>
          <a:p>
            <a:pPr marL="171446" lvl="0" indent="-171446">
              <a:lnSpc>
                <a:spcPct val="110000"/>
              </a:lnSpc>
              <a:spcAft>
                <a:spcPts val="225"/>
              </a:spcAft>
            </a:pPr>
            <a:r>
              <a:rPr lang="en-US" dirty="0"/>
              <a:t>7PM</a:t>
            </a:r>
            <a:endParaRPr lang="en-GB" dirty="0"/>
          </a:p>
        </p:txBody>
      </p:sp>
      <p:sp>
        <p:nvSpPr>
          <p:cNvPr id="28" name="Text Placeholder 21"/>
          <p:cNvSpPr>
            <a:spLocks noGrp="1"/>
          </p:cNvSpPr>
          <p:nvPr>
            <p:ph type="body" sz="quarter" idx="25"/>
          </p:nvPr>
        </p:nvSpPr>
        <p:spPr>
          <a:xfrm>
            <a:off x="6320456" y="5019484"/>
            <a:ext cx="2413397" cy="163956"/>
          </a:xfrm>
        </p:spPr>
        <p:txBody>
          <a:bodyPr vert="horz" wrap="square" lIns="0" tIns="0" rIns="0" bIns="0" rtlCol="0">
            <a:spAutoFit/>
          </a:bodyPr>
          <a:lstStyle>
            <a:lvl1pPr marL="0" indent="0">
              <a:buNone/>
              <a:defRPr lang="en-US" sz="1050" b="1" smtClean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lang="en-US" sz="1050" smtClean="0">
                <a:latin typeface="+mj-lt"/>
              </a:defRPr>
            </a:lvl2pPr>
            <a:lvl3pPr>
              <a:defRPr lang="en-US" sz="1050" smtClean="0">
                <a:latin typeface="+mj-lt"/>
              </a:defRPr>
            </a:lvl3pPr>
            <a:lvl4pPr>
              <a:defRPr lang="en-US" sz="1050" smtClean="0">
                <a:latin typeface="+mj-lt"/>
              </a:defRPr>
            </a:lvl4pPr>
            <a:lvl5pPr>
              <a:defRPr lang="en-GB" sz="1050">
                <a:latin typeface="+mj-lt"/>
              </a:defRPr>
            </a:lvl5pPr>
          </a:lstStyle>
          <a:p>
            <a:pPr marL="171446" lvl="0" indent="-171446">
              <a:lnSpc>
                <a:spcPct val="110000"/>
              </a:lnSpc>
              <a:spcAft>
                <a:spcPts val="225"/>
              </a:spcAft>
            </a:pPr>
            <a:r>
              <a:rPr lang="en-US"/>
              <a:t>Edit Master text styles</a:t>
            </a:r>
          </a:p>
        </p:txBody>
      </p:sp>
      <p:grpSp>
        <p:nvGrpSpPr>
          <p:cNvPr id="30" name="Group 29">
            <a:extLst>
              <a:ext uri="{FF2B5EF4-FFF2-40B4-BE49-F238E27FC236}">
                <a16:creationId xmlns:a16="http://schemas.microsoft.com/office/drawing/2014/main" id="{673B4715-49B1-4176-BA19-5328852D6F26}"/>
              </a:ext>
            </a:extLst>
          </p:cNvPr>
          <p:cNvGrpSpPr/>
          <p:nvPr userDrawn="1"/>
        </p:nvGrpSpPr>
        <p:grpSpPr>
          <a:xfrm>
            <a:off x="1120" y="6781800"/>
            <a:ext cx="9142880" cy="76200"/>
            <a:chOff x="0" y="0"/>
            <a:chExt cx="12190506" cy="295275"/>
          </a:xfrm>
        </p:grpSpPr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DEB7E33E-CBF1-49DF-BD62-3DAA2C728AB1}"/>
                </a:ext>
              </a:extLst>
            </p:cNvPr>
            <p:cNvSpPr/>
            <p:nvPr userDrawn="1"/>
          </p:nvSpPr>
          <p:spPr>
            <a:xfrm>
              <a:off x="0" y="0"/>
              <a:ext cx="6096000" cy="295275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350"/>
            </a:p>
          </p:txBody>
        </p:sp>
        <p:sp>
          <p:nvSpPr>
            <p:cNvPr id="32" name="Rectangle 31">
              <a:extLst>
                <a:ext uri="{FF2B5EF4-FFF2-40B4-BE49-F238E27FC236}">
                  <a16:creationId xmlns:a16="http://schemas.microsoft.com/office/drawing/2014/main" id="{9ECD965C-5A4E-41E4-96D7-6B798BDE590A}"/>
                </a:ext>
              </a:extLst>
            </p:cNvPr>
            <p:cNvSpPr/>
            <p:nvPr userDrawn="1"/>
          </p:nvSpPr>
          <p:spPr>
            <a:xfrm>
              <a:off x="6097494" y="0"/>
              <a:ext cx="2031004" cy="295275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350"/>
            </a:p>
          </p:txBody>
        </p:sp>
        <p:sp>
          <p:nvSpPr>
            <p:cNvPr id="33" name="Rectangle 32">
              <a:extLst>
                <a:ext uri="{FF2B5EF4-FFF2-40B4-BE49-F238E27FC236}">
                  <a16:creationId xmlns:a16="http://schemas.microsoft.com/office/drawing/2014/main" id="{8784FA93-0088-4C93-9104-36E4EC0E3ED1}"/>
                </a:ext>
              </a:extLst>
            </p:cNvPr>
            <p:cNvSpPr/>
            <p:nvPr userDrawn="1"/>
          </p:nvSpPr>
          <p:spPr>
            <a:xfrm>
              <a:off x="8128498" y="0"/>
              <a:ext cx="2031004" cy="295275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350"/>
            </a:p>
          </p:txBody>
        </p:sp>
        <p:sp>
          <p:nvSpPr>
            <p:cNvPr id="34" name="Rectangle 33">
              <a:extLst>
                <a:ext uri="{FF2B5EF4-FFF2-40B4-BE49-F238E27FC236}">
                  <a16:creationId xmlns:a16="http://schemas.microsoft.com/office/drawing/2014/main" id="{85528A3B-3240-4AA7-A526-F2F042F7584A}"/>
                </a:ext>
              </a:extLst>
            </p:cNvPr>
            <p:cNvSpPr/>
            <p:nvPr userDrawn="1"/>
          </p:nvSpPr>
          <p:spPr>
            <a:xfrm>
              <a:off x="10159502" y="0"/>
              <a:ext cx="2031004" cy="295275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350"/>
            </a:p>
          </p:txBody>
        </p:sp>
      </p:grpSp>
      <p:sp>
        <p:nvSpPr>
          <p:cNvPr id="35" name="Text Placeholder 6">
            <a:extLst>
              <a:ext uri="{FF2B5EF4-FFF2-40B4-BE49-F238E27FC236}">
                <a16:creationId xmlns:a16="http://schemas.microsoft.com/office/drawing/2014/main" id="{8E9006FC-9BF5-4228-9C04-B11D9FE815C9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157404" y="6547763"/>
            <a:ext cx="7052072" cy="120610"/>
          </a:xfrm>
        </p:spPr>
        <p:txBody>
          <a:bodyPr vert="horz" wrap="square" lIns="0" tIns="0" rIns="0" bIns="0" rtlCol="0" anchor="b">
            <a:spAutoFit/>
          </a:bodyPr>
          <a:lstStyle>
            <a:lvl1pPr marL="0" indent="0">
              <a:buNone/>
              <a:defRPr lang="en-US" sz="750" dirty="0" smtClean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lang="en-US" sz="1050" dirty="0" smtClean="0">
                <a:latin typeface="+mj-lt"/>
              </a:defRPr>
            </a:lvl2pPr>
            <a:lvl3pPr>
              <a:defRPr lang="en-US" sz="1050" dirty="0" smtClean="0">
                <a:latin typeface="+mj-lt"/>
              </a:defRPr>
            </a:lvl3pPr>
            <a:lvl4pPr>
              <a:defRPr lang="en-US" sz="1050" dirty="0" smtClean="0">
                <a:latin typeface="+mj-lt"/>
              </a:defRPr>
            </a:lvl4pPr>
            <a:lvl5pPr>
              <a:defRPr lang="en-GB" sz="1050" dirty="0">
                <a:latin typeface="+mj-lt"/>
              </a:defRPr>
            </a:lvl5pPr>
          </a:lstStyle>
          <a:p>
            <a:pPr marL="171446" lvl="0" indent="-171446">
              <a:lnSpc>
                <a:spcPct val="110000"/>
              </a:lnSpc>
              <a:spcBef>
                <a:spcPts val="0"/>
              </a:spcBef>
              <a:spcAft>
                <a:spcPts val="225"/>
              </a:spcAft>
            </a:pPr>
            <a:r>
              <a:rPr lang="en-US" dirty="0"/>
              <a:t>SOURCE:</a:t>
            </a:r>
          </a:p>
        </p:txBody>
      </p:sp>
      <p:pic>
        <p:nvPicPr>
          <p:cNvPr id="36" name="Picture 35" descr="ALMA">
            <a:extLst>
              <a:ext uri="{FF2B5EF4-FFF2-40B4-BE49-F238E27FC236}">
                <a16:creationId xmlns:a16="http://schemas.microsoft.com/office/drawing/2014/main" id="{83F3A5AD-AA22-4629-A65F-F8F3BDF742D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305637" y="6368553"/>
            <a:ext cx="680959" cy="2998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96674689"/>
      </p:ext>
    </p:extLst>
  </p:cSld>
  <p:clrMapOvr>
    <a:masterClrMapping/>
  </p:clrMapOvr>
  <p:hf hdr="0" ftr="0" dt="0"/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8"/>
          </p:nvPr>
        </p:nvSpPr>
        <p:spPr>
          <a:xfrm>
            <a:off x="2956324" y="1408113"/>
            <a:ext cx="6186488" cy="442436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42926" y="2899048"/>
            <a:ext cx="2854544" cy="747897"/>
          </a:xfrm>
        </p:spPr>
        <p:txBody>
          <a:bodyPr wrap="square" lIns="0" tIns="0" rIns="0" bIns="0" anchor="ctr">
            <a:spAutoFit/>
          </a:bodyPr>
          <a:lstStyle>
            <a:lvl1pPr>
              <a:defRPr sz="2700" b="1" baseline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7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542929" y="3668527"/>
            <a:ext cx="2413109" cy="778996"/>
          </a:xfr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10000"/>
              </a:lnSpc>
              <a:spcBef>
                <a:spcPts val="0"/>
              </a:spcBef>
              <a:spcAft>
                <a:spcPts val="225"/>
              </a:spcAft>
              <a:buNone/>
              <a:defRPr sz="1050">
                <a:latin typeface="+mj-lt"/>
              </a:defRPr>
            </a:lvl1pPr>
            <a:lvl2pPr marL="171446" indent="-171446">
              <a:lnSpc>
                <a:spcPct val="110000"/>
              </a:lnSpc>
              <a:spcBef>
                <a:spcPts val="0"/>
              </a:spcBef>
              <a:spcAft>
                <a:spcPts val="225"/>
              </a:spcAft>
              <a:defRPr sz="1050">
                <a:latin typeface="+mj-lt"/>
              </a:defRPr>
            </a:lvl2pPr>
            <a:lvl3pPr marL="342892" indent="-171446">
              <a:lnSpc>
                <a:spcPct val="110000"/>
              </a:lnSpc>
              <a:spcBef>
                <a:spcPts val="0"/>
              </a:spcBef>
              <a:spcAft>
                <a:spcPts val="225"/>
              </a:spcAft>
              <a:defRPr sz="1050">
                <a:latin typeface="+mj-lt"/>
              </a:defRPr>
            </a:lvl3pPr>
            <a:lvl4pPr marL="514337" indent="-171446">
              <a:lnSpc>
                <a:spcPct val="110000"/>
              </a:lnSpc>
              <a:spcBef>
                <a:spcPts val="0"/>
              </a:spcBef>
              <a:spcAft>
                <a:spcPts val="225"/>
              </a:spcAft>
              <a:defRPr sz="1050">
                <a:latin typeface="+mj-lt"/>
              </a:defRPr>
            </a:lvl4pPr>
            <a:lvl5pPr>
              <a:defRPr sz="1050">
                <a:latin typeface="+mj-lt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61B45808-91D0-4DAA-BD43-CFAB2364EFD4}"/>
              </a:ext>
            </a:extLst>
          </p:cNvPr>
          <p:cNvGrpSpPr/>
          <p:nvPr userDrawn="1"/>
        </p:nvGrpSpPr>
        <p:grpSpPr>
          <a:xfrm>
            <a:off x="1120" y="6781800"/>
            <a:ext cx="9142880" cy="76200"/>
            <a:chOff x="0" y="0"/>
            <a:chExt cx="12190506" cy="295275"/>
          </a:xfrm>
        </p:grpSpPr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35E0747C-16D4-4127-AAEB-46497EEF6A05}"/>
                </a:ext>
              </a:extLst>
            </p:cNvPr>
            <p:cNvSpPr/>
            <p:nvPr userDrawn="1"/>
          </p:nvSpPr>
          <p:spPr>
            <a:xfrm>
              <a:off x="0" y="0"/>
              <a:ext cx="6096000" cy="295275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350"/>
            </a:p>
          </p:txBody>
        </p:sp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DCDCA094-D19C-433F-B9B3-C7B8FFA052A9}"/>
                </a:ext>
              </a:extLst>
            </p:cNvPr>
            <p:cNvSpPr/>
            <p:nvPr userDrawn="1"/>
          </p:nvSpPr>
          <p:spPr>
            <a:xfrm>
              <a:off x="6097494" y="0"/>
              <a:ext cx="2031004" cy="295275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350"/>
            </a:p>
          </p:txBody>
        </p:sp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1D2DB81B-AAF2-43B0-A6A3-E578FB75319C}"/>
                </a:ext>
              </a:extLst>
            </p:cNvPr>
            <p:cNvSpPr/>
            <p:nvPr userDrawn="1"/>
          </p:nvSpPr>
          <p:spPr>
            <a:xfrm>
              <a:off x="8128498" y="0"/>
              <a:ext cx="2031004" cy="295275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350"/>
            </a:p>
          </p:txBody>
        </p:sp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id="{E5FD134E-CFCF-43F7-949D-64B06D26856C}"/>
                </a:ext>
              </a:extLst>
            </p:cNvPr>
            <p:cNvSpPr/>
            <p:nvPr userDrawn="1"/>
          </p:nvSpPr>
          <p:spPr>
            <a:xfrm>
              <a:off x="10159502" y="0"/>
              <a:ext cx="2031004" cy="295275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350"/>
            </a:p>
          </p:txBody>
        </p:sp>
      </p:grpSp>
      <p:pic>
        <p:nvPicPr>
          <p:cNvPr id="26" name="Picture 25" descr="ALMA">
            <a:extLst>
              <a:ext uri="{FF2B5EF4-FFF2-40B4-BE49-F238E27FC236}">
                <a16:creationId xmlns:a16="http://schemas.microsoft.com/office/drawing/2014/main" id="{82E0FD52-E2F9-4A76-A124-ACAFF1078CF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305637" y="6368553"/>
            <a:ext cx="680959" cy="2998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42470607"/>
      </p:ext>
    </p:extLst>
  </p:cSld>
  <p:clrMapOvr>
    <a:masterClrMapping/>
  </p:clrMapOvr>
  <p:hf hdr="0" ftr="0" dt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63447021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Section Separat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/>
          <p:cNvSpPr/>
          <p:nvPr userDrawn="1"/>
        </p:nvSpPr>
        <p:spPr>
          <a:xfrm>
            <a:off x="0" y="1371600"/>
            <a:ext cx="9142879" cy="548640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35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467080" y="2734629"/>
            <a:ext cx="5105046" cy="1495794"/>
          </a:xfrm>
        </p:spPr>
        <p:txBody>
          <a:bodyPr vert="horz" wrap="square" lIns="0" tIns="0" rIns="0" bIns="0" rtlCol="0" anchor="b">
            <a:spAutoFit/>
          </a:bodyPr>
          <a:lstStyle>
            <a:lvl1pPr marL="0" indent="0" algn="l">
              <a:defRPr lang="en-US" sz="5400" b="1" baseline="0" smtClean="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lvl="0">
              <a:spcBef>
                <a:spcPct val="0"/>
              </a:spcBef>
              <a:buNone/>
            </a:pPr>
            <a:r>
              <a:rPr lang="en-US" dirty="0"/>
              <a:t>Presentation title</a:t>
            </a: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2" hasCustomPrompt="1"/>
          </p:nvPr>
        </p:nvSpPr>
        <p:spPr>
          <a:xfrm>
            <a:off x="467079" y="5967183"/>
            <a:ext cx="3378994" cy="257635"/>
          </a:xfrm>
        </p:spPr>
        <p:txBody>
          <a:bodyPr vert="horz" wrap="square" lIns="0" tIns="0" rIns="0" bIns="0" rtlCol="0">
            <a:spAutoFit/>
          </a:bodyPr>
          <a:lstStyle>
            <a:lvl1pPr marL="0" indent="0">
              <a:lnSpc>
                <a:spcPct val="150000"/>
              </a:lnSpc>
              <a:buNone/>
              <a:defRPr lang="en-US" sz="165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171446" lvl="0" indent="-171446">
              <a:lnSpc>
                <a:spcPct val="110000"/>
              </a:lnSpc>
              <a:spcBef>
                <a:spcPts val="0"/>
              </a:spcBef>
              <a:spcAft>
                <a:spcPts val="225"/>
              </a:spcAft>
            </a:pPr>
            <a:r>
              <a:rPr lang="en-US" dirty="0"/>
              <a:t>Month Year</a:t>
            </a:r>
          </a:p>
        </p:txBody>
      </p:sp>
      <p:grpSp>
        <p:nvGrpSpPr>
          <p:cNvPr id="19" name="Group 18">
            <a:extLst>
              <a:ext uri="{FF2B5EF4-FFF2-40B4-BE49-F238E27FC236}">
                <a16:creationId xmlns:a16="http://schemas.microsoft.com/office/drawing/2014/main" id="{8533E14B-C342-480D-9594-6F7167288E44}"/>
              </a:ext>
            </a:extLst>
          </p:cNvPr>
          <p:cNvGrpSpPr/>
          <p:nvPr userDrawn="1"/>
        </p:nvGrpSpPr>
        <p:grpSpPr>
          <a:xfrm>
            <a:off x="-1" y="0"/>
            <a:ext cx="9142880" cy="76200"/>
            <a:chOff x="0" y="0"/>
            <a:chExt cx="12190506" cy="295275"/>
          </a:xfrm>
        </p:grpSpPr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34E1B717-5775-4596-9AC7-2A00D8D63704}"/>
                </a:ext>
              </a:extLst>
            </p:cNvPr>
            <p:cNvSpPr/>
            <p:nvPr userDrawn="1"/>
          </p:nvSpPr>
          <p:spPr>
            <a:xfrm>
              <a:off x="0" y="0"/>
              <a:ext cx="6096000" cy="295275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350"/>
            </a:p>
          </p:txBody>
        </p:sp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04C9F875-64CE-4E1A-AF08-25CF95032102}"/>
                </a:ext>
              </a:extLst>
            </p:cNvPr>
            <p:cNvSpPr/>
            <p:nvPr userDrawn="1"/>
          </p:nvSpPr>
          <p:spPr>
            <a:xfrm>
              <a:off x="6097494" y="0"/>
              <a:ext cx="2031004" cy="295275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350"/>
            </a:p>
          </p:txBody>
        </p:sp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5A2000AF-53C1-438D-9CAD-7160789BE211}"/>
                </a:ext>
              </a:extLst>
            </p:cNvPr>
            <p:cNvSpPr/>
            <p:nvPr userDrawn="1"/>
          </p:nvSpPr>
          <p:spPr>
            <a:xfrm>
              <a:off x="8128498" y="0"/>
              <a:ext cx="2031004" cy="295275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350"/>
            </a:p>
          </p:txBody>
        </p:sp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1B5C18DE-769D-4C47-9955-466F9827EA32}"/>
                </a:ext>
              </a:extLst>
            </p:cNvPr>
            <p:cNvSpPr/>
            <p:nvPr userDrawn="1"/>
          </p:nvSpPr>
          <p:spPr>
            <a:xfrm>
              <a:off x="10159502" y="0"/>
              <a:ext cx="2031004" cy="295275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350"/>
            </a:p>
          </p:txBody>
        </p:sp>
      </p:grpSp>
      <p:pic>
        <p:nvPicPr>
          <p:cNvPr id="9" name="Picture 8" descr="African Leaders Malaria Alliance (ALMA)">
            <a:extLst>
              <a:ext uri="{FF2B5EF4-FFF2-40B4-BE49-F238E27FC236}">
                <a16:creationId xmlns:a16="http://schemas.microsoft.com/office/drawing/2014/main" id="{279ED16C-411A-4115-8AB5-0281887AE4C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67079" y="376516"/>
            <a:ext cx="2733321" cy="6212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52179099"/>
      </p:ext>
    </p:extLst>
  </p:cSld>
  <p:clrMapOvr>
    <a:masterClrMapping/>
  </p:clrMapOvr>
  <p:hf hdr="0" ftr="0" dt="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Section Separat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/>
          <p:cNvSpPr/>
          <p:nvPr userDrawn="1"/>
        </p:nvSpPr>
        <p:spPr>
          <a:xfrm>
            <a:off x="0" y="1371600"/>
            <a:ext cx="9142879" cy="548640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35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467080" y="2734629"/>
            <a:ext cx="5105046" cy="747897"/>
          </a:xfrm>
        </p:spPr>
        <p:txBody>
          <a:bodyPr vert="horz" wrap="square" lIns="0" tIns="0" rIns="0" bIns="0" rtlCol="0" anchor="t">
            <a:spAutoFit/>
          </a:bodyPr>
          <a:lstStyle>
            <a:lvl1pPr marL="0" indent="0" algn="l">
              <a:defRPr lang="en-US" sz="5400" b="1" baseline="0" smtClean="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lvl="0">
              <a:spcBef>
                <a:spcPct val="0"/>
              </a:spcBef>
              <a:buNone/>
            </a:pPr>
            <a:r>
              <a:rPr lang="en-US" dirty="0"/>
              <a:t>Section title</a:t>
            </a: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2" hasCustomPrompt="1"/>
          </p:nvPr>
        </p:nvSpPr>
        <p:spPr>
          <a:xfrm>
            <a:off x="467079" y="2360755"/>
            <a:ext cx="3378994" cy="281103"/>
          </a:xfrm>
        </p:spPr>
        <p:txBody>
          <a:bodyPr vert="horz" wrap="square" lIns="0" tIns="0" rIns="0" bIns="0" rtlCol="0">
            <a:spAutoFit/>
          </a:bodyPr>
          <a:lstStyle>
            <a:lvl1pPr marL="0" indent="0">
              <a:lnSpc>
                <a:spcPct val="150000"/>
              </a:lnSpc>
              <a:buNone/>
              <a:defRPr lang="en-US" sz="1800" b="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171446" lvl="0" indent="-171446">
              <a:lnSpc>
                <a:spcPct val="110000"/>
              </a:lnSpc>
              <a:spcBef>
                <a:spcPts val="0"/>
              </a:spcBef>
              <a:spcAft>
                <a:spcPts val="225"/>
              </a:spcAft>
            </a:pPr>
            <a:r>
              <a:rPr lang="en-US" dirty="0"/>
              <a:t>Presentation title</a:t>
            </a:r>
          </a:p>
        </p:txBody>
      </p:sp>
      <p:grpSp>
        <p:nvGrpSpPr>
          <p:cNvPr id="19" name="Group 18">
            <a:extLst>
              <a:ext uri="{FF2B5EF4-FFF2-40B4-BE49-F238E27FC236}">
                <a16:creationId xmlns:a16="http://schemas.microsoft.com/office/drawing/2014/main" id="{8533E14B-C342-480D-9594-6F7167288E44}"/>
              </a:ext>
            </a:extLst>
          </p:cNvPr>
          <p:cNvGrpSpPr/>
          <p:nvPr userDrawn="1"/>
        </p:nvGrpSpPr>
        <p:grpSpPr>
          <a:xfrm>
            <a:off x="-1" y="0"/>
            <a:ext cx="9142880" cy="76200"/>
            <a:chOff x="0" y="0"/>
            <a:chExt cx="12190506" cy="295275"/>
          </a:xfrm>
        </p:grpSpPr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34E1B717-5775-4596-9AC7-2A00D8D63704}"/>
                </a:ext>
              </a:extLst>
            </p:cNvPr>
            <p:cNvSpPr/>
            <p:nvPr userDrawn="1"/>
          </p:nvSpPr>
          <p:spPr>
            <a:xfrm>
              <a:off x="0" y="0"/>
              <a:ext cx="6096000" cy="295275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350"/>
            </a:p>
          </p:txBody>
        </p:sp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04C9F875-64CE-4E1A-AF08-25CF95032102}"/>
                </a:ext>
              </a:extLst>
            </p:cNvPr>
            <p:cNvSpPr/>
            <p:nvPr userDrawn="1"/>
          </p:nvSpPr>
          <p:spPr>
            <a:xfrm>
              <a:off x="6097494" y="0"/>
              <a:ext cx="2031004" cy="295275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350"/>
            </a:p>
          </p:txBody>
        </p:sp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5A2000AF-53C1-438D-9CAD-7160789BE211}"/>
                </a:ext>
              </a:extLst>
            </p:cNvPr>
            <p:cNvSpPr/>
            <p:nvPr userDrawn="1"/>
          </p:nvSpPr>
          <p:spPr>
            <a:xfrm>
              <a:off x="8128498" y="0"/>
              <a:ext cx="2031004" cy="295275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350"/>
            </a:p>
          </p:txBody>
        </p:sp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1B5C18DE-769D-4C47-9955-466F9827EA32}"/>
                </a:ext>
              </a:extLst>
            </p:cNvPr>
            <p:cNvSpPr/>
            <p:nvPr userDrawn="1"/>
          </p:nvSpPr>
          <p:spPr>
            <a:xfrm>
              <a:off x="10159502" y="0"/>
              <a:ext cx="2031004" cy="295275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350"/>
            </a:p>
          </p:txBody>
        </p:sp>
      </p:grpSp>
      <p:pic>
        <p:nvPicPr>
          <p:cNvPr id="9" name="Picture 8" descr="African Leaders Malaria Alliance (ALMA)">
            <a:extLst>
              <a:ext uri="{FF2B5EF4-FFF2-40B4-BE49-F238E27FC236}">
                <a16:creationId xmlns:a16="http://schemas.microsoft.com/office/drawing/2014/main" id="{279ED16C-411A-4115-8AB5-0281887AE4C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67079" y="376516"/>
            <a:ext cx="2733321" cy="6212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34846755"/>
      </p:ext>
    </p:extLst>
  </p:cSld>
  <p:clrMapOvr>
    <a:masterClrMapping/>
  </p:clrMapOvr>
  <p:hf hdr="0" ftr="0" dt="0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419942"/>
            <a:ext cx="8229600" cy="443198"/>
          </a:xfrm>
        </p:spPr>
        <p:txBody>
          <a:bodyPr wrap="square" lIns="0" tIns="0" rIns="0" bIns="0" anchor="t">
            <a:spAutoFit/>
          </a:bodyPr>
          <a:lstStyle>
            <a:lvl1pPr>
              <a:defRPr sz="3200" b="1" baseline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Rectangle 2"/>
          <p:cNvSpPr/>
          <p:nvPr userDrawn="1"/>
        </p:nvSpPr>
        <p:spPr>
          <a:xfrm>
            <a:off x="1120" y="6781800"/>
            <a:ext cx="4572000" cy="762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350"/>
          </a:p>
        </p:txBody>
      </p:sp>
      <p:sp>
        <p:nvSpPr>
          <p:cNvPr id="11" name="Rectangle 10"/>
          <p:cNvSpPr/>
          <p:nvPr userDrawn="1"/>
        </p:nvSpPr>
        <p:spPr>
          <a:xfrm>
            <a:off x="4574241" y="6781800"/>
            <a:ext cx="1523253" cy="762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350"/>
          </a:p>
        </p:txBody>
      </p:sp>
      <p:sp>
        <p:nvSpPr>
          <p:cNvPr id="14" name="Rectangle 13"/>
          <p:cNvSpPr/>
          <p:nvPr userDrawn="1"/>
        </p:nvSpPr>
        <p:spPr>
          <a:xfrm>
            <a:off x="6097494" y="6781800"/>
            <a:ext cx="1523253" cy="76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350"/>
          </a:p>
        </p:txBody>
      </p:sp>
      <p:sp>
        <p:nvSpPr>
          <p:cNvPr id="15" name="Rectangle 14"/>
          <p:cNvSpPr/>
          <p:nvPr userDrawn="1"/>
        </p:nvSpPr>
        <p:spPr>
          <a:xfrm>
            <a:off x="7620747" y="6781800"/>
            <a:ext cx="1523253" cy="762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350"/>
          </a:p>
        </p:txBody>
      </p:sp>
      <p:sp>
        <p:nvSpPr>
          <p:cNvPr id="16" name="Text Placeholder 6"/>
          <p:cNvSpPr>
            <a:spLocks noGrp="1"/>
          </p:cNvSpPr>
          <p:nvPr userDrawn="1">
            <p:ph type="body" sz="quarter" idx="17" hasCustomPrompt="1"/>
          </p:nvPr>
        </p:nvSpPr>
        <p:spPr>
          <a:xfrm>
            <a:off x="157404" y="6547763"/>
            <a:ext cx="7052072" cy="120610"/>
          </a:xfrm>
        </p:spPr>
        <p:txBody>
          <a:bodyPr vert="horz" wrap="square" lIns="0" tIns="0" rIns="0" bIns="0" rtlCol="0" anchor="b">
            <a:spAutoFit/>
          </a:bodyPr>
          <a:lstStyle>
            <a:lvl1pPr marL="0" indent="0">
              <a:buNone/>
              <a:defRPr lang="en-US" sz="750" dirty="0" smtClean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lang="en-US" sz="1050" dirty="0" smtClean="0">
                <a:latin typeface="+mj-lt"/>
              </a:defRPr>
            </a:lvl2pPr>
            <a:lvl3pPr>
              <a:defRPr lang="en-US" sz="1050" dirty="0" smtClean="0">
                <a:latin typeface="+mj-lt"/>
              </a:defRPr>
            </a:lvl3pPr>
            <a:lvl4pPr>
              <a:defRPr lang="en-US" sz="1050" dirty="0" smtClean="0">
                <a:latin typeface="+mj-lt"/>
              </a:defRPr>
            </a:lvl4pPr>
            <a:lvl5pPr>
              <a:defRPr lang="en-GB" sz="1050" dirty="0">
                <a:latin typeface="+mj-lt"/>
              </a:defRPr>
            </a:lvl5pPr>
          </a:lstStyle>
          <a:p>
            <a:pPr marL="171446" lvl="0" indent="-171446">
              <a:lnSpc>
                <a:spcPct val="110000"/>
              </a:lnSpc>
              <a:spcBef>
                <a:spcPts val="0"/>
              </a:spcBef>
              <a:spcAft>
                <a:spcPts val="225"/>
              </a:spcAft>
            </a:pPr>
            <a:r>
              <a:rPr lang="en-US" dirty="0"/>
              <a:t>SOURCE:</a:t>
            </a:r>
          </a:p>
        </p:txBody>
      </p:sp>
      <p:pic>
        <p:nvPicPr>
          <p:cNvPr id="9" name="Picture 8" descr="ALMA">
            <a:extLst>
              <a:ext uri="{FF2B5EF4-FFF2-40B4-BE49-F238E27FC236}">
                <a16:creationId xmlns:a16="http://schemas.microsoft.com/office/drawing/2014/main" id="{616B0B35-4633-44DF-B913-A0E6E33EB1C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305637" y="6368553"/>
            <a:ext cx="680959" cy="299820"/>
          </a:xfrm>
          <a:prstGeom prst="rect">
            <a:avLst/>
          </a:prstGeom>
        </p:spPr>
      </p:pic>
      <p:sp>
        <p:nvSpPr>
          <p:cNvPr id="28" name="Text Placeholder 5">
            <a:extLst>
              <a:ext uri="{FF2B5EF4-FFF2-40B4-BE49-F238E27FC236}">
                <a16:creationId xmlns:a16="http://schemas.microsoft.com/office/drawing/2014/main" id="{133FCFC5-B8A6-4EC0-BB9F-6221D2A95E4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200" y="1379904"/>
            <a:ext cx="8025634" cy="1404936"/>
          </a:xfr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10000"/>
              </a:lnSpc>
              <a:spcBef>
                <a:spcPts val="0"/>
              </a:spcBef>
              <a:spcAft>
                <a:spcPts val="225"/>
              </a:spcAft>
              <a:buNone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71446" indent="-171446">
              <a:lnSpc>
                <a:spcPct val="110000"/>
              </a:lnSpc>
              <a:spcBef>
                <a:spcPts val="0"/>
              </a:spcBef>
              <a:spcAft>
                <a:spcPts val="225"/>
              </a:spcAft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342892" indent="-171446">
              <a:lnSpc>
                <a:spcPct val="110000"/>
              </a:lnSpc>
              <a:spcBef>
                <a:spcPts val="0"/>
              </a:spcBef>
              <a:spcAft>
                <a:spcPts val="225"/>
              </a:spcAft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514337" indent="-171446">
              <a:lnSpc>
                <a:spcPct val="110000"/>
              </a:lnSpc>
              <a:spcBef>
                <a:spcPts val="0"/>
              </a:spcBef>
              <a:spcAft>
                <a:spcPts val="225"/>
              </a:spcAft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050">
                <a:latin typeface="+mj-lt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2712638308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2880">
          <p15:clr>
            <a:srgbClr val="FBAE40"/>
          </p15:clr>
        </p15:guide>
        <p15:guide id="3" pos="288">
          <p15:clr>
            <a:srgbClr val="FBAE40"/>
          </p15:clr>
        </p15:guide>
        <p15:guide id="4" pos="5472">
          <p15:clr>
            <a:srgbClr val="FBAE40"/>
          </p15:clr>
        </p15:guide>
        <p15:guide id="5" orient="horz" pos="288">
          <p15:clr>
            <a:srgbClr val="FBAE40"/>
          </p15:clr>
        </p15:guide>
        <p15:guide id="6" orient="horz" pos="4032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419942"/>
            <a:ext cx="8229600" cy="443198"/>
          </a:xfrm>
        </p:spPr>
        <p:txBody>
          <a:bodyPr wrap="square" lIns="0" tIns="0" rIns="0" bIns="0" anchor="t">
            <a:spAutoFit/>
          </a:bodyPr>
          <a:lstStyle>
            <a:lvl1pPr>
              <a:defRPr sz="3200" b="1" baseline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Rectangle 2"/>
          <p:cNvSpPr/>
          <p:nvPr userDrawn="1"/>
        </p:nvSpPr>
        <p:spPr>
          <a:xfrm>
            <a:off x="1120" y="6781800"/>
            <a:ext cx="4572000" cy="762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350"/>
          </a:p>
        </p:txBody>
      </p:sp>
      <p:sp>
        <p:nvSpPr>
          <p:cNvPr id="11" name="Rectangle 10"/>
          <p:cNvSpPr/>
          <p:nvPr userDrawn="1"/>
        </p:nvSpPr>
        <p:spPr>
          <a:xfrm>
            <a:off x="4574241" y="6781800"/>
            <a:ext cx="1523253" cy="762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350"/>
          </a:p>
        </p:txBody>
      </p:sp>
      <p:sp>
        <p:nvSpPr>
          <p:cNvPr id="14" name="Rectangle 13"/>
          <p:cNvSpPr/>
          <p:nvPr userDrawn="1"/>
        </p:nvSpPr>
        <p:spPr>
          <a:xfrm>
            <a:off x="6097494" y="6781800"/>
            <a:ext cx="1523253" cy="76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350"/>
          </a:p>
        </p:txBody>
      </p:sp>
      <p:sp>
        <p:nvSpPr>
          <p:cNvPr id="15" name="Rectangle 14"/>
          <p:cNvSpPr/>
          <p:nvPr userDrawn="1"/>
        </p:nvSpPr>
        <p:spPr>
          <a:xfrm>
            <a:off x="7620747" y="6781800"/>
            <a:ext cx="1523253" cy="762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350"/>
          </a:p>
        </p:txBody>
      </p:sp>
      <p:sp>
        <p:nvSpPr>
          <p:cNvPr id="16" name="Text Placeholder 6"/>
          <p:cNvSpPr>
            <a:spLocks noGrp="1"/>
          </p:cNvSpPr>
          <p:nvPr userDrawn="1">
            <p:ph type="body" sz="quarter" idx="17" hasCustomPrompt="1"/>
          </p:nvPr>
        </p:nvSpPr>
        <p:spPr>
          <a:xfrm>
            <a:off x="157404" y="6547763"/>
            <a:ext cx="7052072" cy="120610"/>
          </a:xfrm>
        </p:spPr>
        <p:txBody>
          <a:bodyPr vert="horz" wrap="square" lIns="0" tIns="0" rIns="0" bIns="0" rtlCol="0" anchor="b">
            <a:spAutoFit/>
          </a:bodyPr>
          <a:lstStyle>
            <a:lvl1pPr marL="0" indent="0">
              <a:buNone/>
              <a:defRPr lang="en-US" sz="750" dirty="0" smtClean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lang="en-US" sz="1050" dirty="0" smtClean="0">
                <a:latin typeface="+mj-lt"/>
              </a:defRPr>
            </a:lvl2pPr>
            <a:lvl3pPr>
              <a:defRPr lang="en-US" sz="1050" dirty="0" smtClean="0">
                <a:latin typeface="+mj-lt"/>
              </a:defRPr>
            </a:lvl3pPr>
            <a:lvl4pPr>
              <a:defRPr lang="en-US" sz="1050" dirty="0" smtClean="0">
                <a:latin typeface="+mj-lt"/>
              </a:defRPr>
            </a:lvl4pPr>
            <a:lvl5pPr>
              <a:defRPr lang="en-GB" sz="1050" dirty="0">
                <a:latin typeface="+mj-lt"/>
              </a:defRPr>
            </a:lvl5pPr>
          </a:lstStyle>
          <a:p>
            <a:pPr marL="171446" lvl="0" indent="-171446">
              <a:lnSpc>
                <a:spcPct val="110000"/>
              </a:lnSpc>
              <a:spcBef>
                <a:spcPts val="0"/>
              </a:spcBef>
              <a:spcAft>
                <a:spcPts val="225"/>
              </a:spcAft>
            </a:pPr>
            <a:r>
              <a:rPr lang="en-US" dirty="0"/>
              <a:t>SOURCE:</a:t>
            </a:r>
          </a:p>
        </p:txBody>
      </p:sp>
      <p:pic>
        <p:nvPicPr>
          <p:cNvPr id="9" name="Picture 8" descr="ALMA">
            <a:extLst>
              <a:ext uri="{FF2B5EF4-FFF2-40B4-BE49-F238E27FC236}">
                <a16:creationId xmlns:a16="http://schemas.microsoft.com/office/drawing/2014/main" id="{616B0B35-4633-44DF-B913-A0E6E33EB1C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305637" y="6368553"/>
            <a:ext cx="680959" cy="299820"/>
          </a:xfrm>
          <a:prstGeom prst="rect">
            <a:avLst/>
          </a:prstGeom>
        </p:spPr>
      </p:pic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CDED3805-C18B-4FE2-ACC3-CA5054A499C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200" y="1379904"/>
            <a:ext cx="8025634" cy="1404936"/>
          </a:xfr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10000"/>
              </a:lnSpc>
              <a:spcBef>
                <a:spcPts val="0"/>
              </a:spcBef>
              <a:spcAft>
                <a:spcPts val="225"/>
              </a:spcAft>
              <a:buNone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71446" indent="-171446">
              <a:lnSpc>
                <a:spcPct val="110000"/>
              </a:lnSpc>
              <a:spcBef>
                <a:spcPts val="0"/>
              </a:spcBef>
              <a:spcAft>
                <a:spcPts val="225"/>
              </a:spcAft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342892" indent="-171446">
              <a:lnSpc>
                <a:spcPct val="110000"/>
              </a:lnSpc>
              <a:spcBef>
                <a:spcPts val="0"/>
              </a:spcBef>
              <a:spcAft>
                <a:spcPts val="225"/>
              </a:spcAft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514337" indent="-171446">
              <a:lnSpc>
                <a:spcPct val="110000"/>
              </a:lnSpc>
              <a:spcBef>
                <a:spcPts val="0"/>
              </a:spcBef>
              <a:spcAft>
                <a:spcPts val="225"/>
              </a:spcAft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050">
                <a:latin typeface="+mj-lt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3639657988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2880">
          <p15:clr>
            <a:srgbClr val="FBAE40"/>
          </p15:clr>
        </p15:guide>
        <p15:guide id="3" pos="288">
          <p15:clr>
            <a:srgbClr val="FBAE40"/>
          </p15:clr>
        </p15:guide>
        <p15:guide id="4" pos="5472">
          <p15:clr>
            <a:srgbClr val="FBAE40"/>
          </p15:clr>
        </p15:guide>
        <p15:guide id="5" orient="horz" pos="288">
          <p15:clr>
            <a:srgbClr val="FBAE40"/>
          </p15:clr>
        </p15:guide>
        <p15:guide id="6" orient="horz" pos="4032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783440"/>
            <a:ext cx="8229600" cy="443198"/>
          </a:xfrm>
        </p:spPr>
        <p:txBody>
          <a:bodyPr wrap="square" lIns="0" tIns="0" rIns="0" bIns="0" anchor="t">
            <a:spAutoFit/>
          </a:bodyPr>
          <a:lstStyle>
            <a:lvl1pPr>
              <a:defRPr sz="3200" b="1" baseline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Rectangle 2"/>
          <p:cNvSpPr/>
          <p:nvPr userDrawn="1"/>
        </p:nvSpPr>
        <p:spPr>
          <a:xfrm>
            <a:off x="1120" y="6781800"/>
            <a:ext cx="4572000" cy="762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350"/>
          </a:p>
        </p:txBody>
      </p:sp>
      <p:sp>
        <p:nvSpPr>
          <p:cNvPr id="11" name="Rectangle 10"/>
          <p:cNvSpPr/>
          <p:nvPr userDrawn="1"/>
        </p:nvSpPr>
        <p:spPr>
          <a:xfrm>
            <a:off x="4574241" y="6781800"/>
            <a:ext cx="1523253" cy="762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350"/>
          </a:p>
        </p:txBody>
      </p:sp>
      <p:sp>
        <p:nvSpPr>
          <p:cNvPr id="14" name="Rectangle 13"/>
          <p:cNvSpPr/>
          <p:nvPr userDrawn="1"/>
        </p:nvSpPr>
        <p:spPr>
          <a:xfrm>
            <a:off x="6097494" y="6781800"/>
            <a:ext cx="1523253" cy="76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350"/>
          </a:p>
        </p:txBody>
      </p:sp>
      <p:sp>
        <p:nvSpPr>
          <p:cNvPr id="15" name="Rectangle 14"/>
          <p:cNvSpPr/>
          <p:nvPr userDrawn="1"/>
        </p:nvSpPr>
        <p:spPr>
          <a:xfrm>
            <a:off x="7620747" y="6781800"/>
            <a:ext cx="1523253" cy="762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350"/>
          </a:p>
        </p:txBody>
      </p:sp>
      <p:sp>
        <p:nvSpPr>
          <p:cNvPr id="16" name="Text Placeholder 6"/>
          <p:cNvSpPr>
            <a:spLocks noGrp="1"/>
          </p:cNvSpPr>
          <p:nvPr userDrawn="1">
            <p:ph type="body" sz="quarter" idx="17" hasCustomPrompt="1"/>
          </p:nvPr>
        </p:nvSpPr>
        <p:spPr>
          <a:xfrm>
            <a:off x="157404" y="6547763"/>
            <a:ext cx="7052072" cy="120610"/>
          </a:xfrm>
        </p:spPr>
        <p:txBody>
          <a:bodyPr vert="horz" wrap="square" lIns="0" tIns="0" rIns="0" bIns="0" rtlCol="0" anchor="b">
            <a:spAutoFit/>
          </a:bodyPr>
          <a:lstStyle>
            <a:lvl1pPr marL="0" indent="0">
              <a:buNone/>
              <a:defRPr lang="en-US" sz="750" dirty="0" smtClean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lang="en-US" sz="1050" dirty="0" smtClean="0">
                <a:latin typeface="+mj-lt"/>
              </a:defRPr>
            </a:lvl2pPr>
            <a:lvl3pPr>
              <a:defRPr lang="en-US" sz="1050" dirty="0" smtClean="0">
                <a:latin typeface="+mj-lt"/>
              </a:defRPr>
            </a:lvl3pPr>
            <a:lvl4pPr>
              <a:defRPr lang="en-US" sz="1050" dirty="0" smtClean="0">
                <a:latin typeface="+mj-lt"/>
              </a:defRPr>
            </a:lvl4pPr>
            <a:lvl5pPr>
              <a:defRPr lang="en-GB" sz="1050" dirty="0">
                <a:latin typeface="+mj-lt"/>
              </a:defRPr>
            </a:lvl5pPr>
          </a:lstStyle>
          <a:p>
            <a:pPr marL="171446" lvl="0" indent="-171446">
              <a:lnSpc>
                <a:spcPct val="110000"/>
              </a:lnSpc>
              <a:spcBef>
                <a:spcPts val="0"/>
              </a:spcBef>
              <a:spcAft>
                <a:spcPts val="225"/>
              </a:spcAft>
            </a:pPr>
            <a:r>
              <a:rPr lang="en-US" dirty="0"/>
              <a:t>SOURCE:</a:t>
            </a:r>
          </a:p>
        </p:txBody>
      </p:sp>
      <p:pic>
        <p:nvPicPr>
          <p:cNvPr id="9" name="Picture 8" descr="ALMA">
            <a:extLst>
              <a:ext uri="{FF2B5EF4-FFF2-40B4-BE49-F238E27FC236}">
                <a16:creationId xmlns:a16="http://schemas.microsoft.com/office/drawing/2014/main" id="{616B0B35-4633-44DF-B913-A0E6E33EB1C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305637" y="6368553"/>
            <a:ext cx="680959" cy="299820"/>
          </a:xfrm>
          <a:prstGeom prst="rect">
            <a:avLst/>
          </a:prstGeom>
        </p:spPr>
      </p:pic>
      <p:sp>
        <p:nvSpPr>
          <p:cNvPr id="17" name="Title 1">
            <a:extLst>
              <a:ext uri="{FF2B5EF4-FFF2-40B4-BE49-F238E27FC236}">
                <a16:creationId xmlns:a16="http://schemas.microsoft.com/office/drawing/2014/main" id="{B2E29922-769F-4949-90F7-077647BF05B2}"/>
              </a:ext>
            </a:extLst>
          </p:cNvPr>
          <p:cNvSpPr txBox="1">
            <a:spLocks/>
          </p:cNvSpPr>
          <p:nvPr userDrawn="1"/>
        </p:nvSpPr>
        <p:spPr>
          <a:xfrm>
            <a:off x="457200" y="427742"/>
            <a:ext cx="8229600" cy="3323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 defTabSz="68578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1" kern="1200" baseline="0">
                <a:solidFill>
                  <a:schemeClr val="tx2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 sz="2400" b="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Click to edit Master subtitle style</a:t>
            </a:r>
            <a:endParaRPr lang="en-GB" sz="2400" b="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92576133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2880">
          <p15:clr>
            <a:srgbClr val="FBAE40"/>
          </p15:clr>
        </p15:guide>
        <p15:guide id="3" pos="288">
          <p15:clr>
            <a:srgbClr val="FBAE40"/>
          </p15:clr>
        </p15:guide>
        <p15:guide id="4" pos="5472">
          <p15:clr>
            <a:srgbClr val="FBAE40"/>
          </p15:clr>
        </p15:guide>
        <p15:guide id="5" orient="horz" pos="288">
          <p15:clr>
            <a:srgbClr val="FBAE40"/>
          </p15:clr>
        </p15:guide>
        <p15:guide id="6" orient="horz" pos="4032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ontent &gt; 3 O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42927" y="445020"/>
            <a:ext cx="7553322" cy="290849"/>
          </a:xfrm>
        </p:spPr>
        <p:txBody>
          <a:bodyPr wrap="square" lIns="0" tIns="0" rIns="0" bIns="0" anchor="t">
            <a:spAutoFit/>
          </a:bodyPr>
          <a:lstStyle>
            <a:lvl1pPr>
              <a:defRPr sz="2100" b="1" baseline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542925" y="2799129"/>
            <a:ext cx="8025634" cy="778996"/>
          </a:xfr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10000"/>
              </a:lnSpc>
              <a:spcBef>
                <a:spcPts val="0"/>
              </a:spcBef>
              <a:spcAft>
                <a:spcPts val="225"/>
              </a:spcAft>
              <a:buNone/>
              <a:defRPr sz="1050">
                <a:latin typeface="+mj-lt"/>
              </a:defRPr>
            </a:lvl1pPr>
            <a:lvl2pPr marL="171446" indent="-171446">
              <a:lnSpc>
                <a:spcPct val="110000"/>
              </a:lnSpc>
              <a:spcBef>
                <a:spcPts val="0"/>
              </a:spcBef>
              <a:spcAft>
                <a:spcPts val="225"/>
              </a:spcAft>
              <a:defRPr sz="1050">
                <a:latin typeface="+mj-lt"/>
              </a:defRPr>
            </a:lvl2pPr>
            <a:lvl3pPr marL="342892" indent="-171446">
              <a:lnSpc>
                <a:spcPct val="110000"/>
              </a:lnSpc>
              <a:spcBef>
                <a:spcPts val="0"/>
              </a:spcBef>
              <a:spcAft>
                <a:spcPts val="225"/>
              </a:spcAft>
              <a:defRPr sz="1050">
                <a:latin typeface="+mj-lt"/>
              </a:defRPr>
            </a:lvl3pPr>
            <a:lvl4pPr marL="514337" indent="-171446">
              <a:lnSpc>
                <a:spcPct val="110000"/>
              </a:lnSpc>
              <a:spcBef>
                <a:spcPts val="0"/>
              </a:spcBef>
              <a:spcAft>
                <a:spcPts val="225"/>
              </a:spcAft>
              <a:defRPr sz="1050">
                <a:latin typeface="+mj-lt"/>
              </a:defRPr>
            </a:lvl4pPr>
            <a:lvl5pPr>
              <a:defRPr sz="1050">
                <a:latin typeface="+mj-lt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22" name="Text Placeholder 21"/>
          <p:cNvSpPr>
            <a:spLocks noGrp="1"/>
          </p:cNvSpPr>
          <p:nvPr>
            <p:ph type="body" sz="quarter" idx="16"/>
          </p:nvPr>
        </p:nvSpPr>
        <p:spPr>
          <a:xfrm>
            <a:off x="542929" y="2151477"/>
            <a:ext cx="2413397" cy="163956"/>
          </a:xfrm>
        </p:spPr>
        <p:txBody>
          <a:bodyPr vert="horz" wrap="square" lIns="0" tIns="0" rIns="0" bIns="0" rtlCol="0">
            <a:spAutoFit/>
          </a:bodyPr>
          <a:lstStyle>
            <a:lvl1pPr marL="0" indent="0">
              <a:buNone/>
              <a:defRPr lang="en-US" sz="1050" b="1" smtClean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lang="en-US" sz="1050" smtClean="0">
                <a:latin typeface="+mj-lt"/>
              </a:defRPr>
            </a:lvl2pPr>
            <a:lvl3pPr>
              <a:defRPr lang="en-US" sz="1050" smtClean="0">
                <a:latin typeface="+mj-lt"/>
              </a:defRPr>
            </a:lvl3pPr>
            <a:lvl4pPr>
              <a:defRPr lang="en-US" sz="1050" smtClean="0">
                <a:latin typeface="+mj-lt"/>
              </a:defRPr>
            </a:lvl4pPr>
            <a:lvl5pPr>
              <a:defRPr lang="en-GB" sz="1050">
                <a:latin typeface="+mj-lt"/>
              </a:defRPr>
            </a:lvl5pPr>
          </a:lstStyle>
          <a:p>
            <a:pPr marL="171446" lvl="0" indent="-171446">
              <a:lnSpc>
                <a:spcPct val="110000"/>
              </a:lnSpc>
              <a:spcAft>
                <a:spcPts val="225"/>
              </a:spcAft>
            </a:pPr>
            <a:r>
              <a:rPr lang="en-US"/>
              <a:t>Edit Master text styles</a:t>
            </a:r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97B5FD98-102D-4E86-A976-F9B4F3194778}"/>
              </a:ext>
            </a:extLst>
          </p:cNvPr>
          <p:cNvGrpSpPr/>
          <p:nvPr userDrawn="1"/>
        </p:nvGrpSpPr>
        <p:grpSpPr>
          <a:xfrm>
            <a:off x="1120" y="6781800"/>
            <a:ext cx="9142880" cy="76200"/>
            <a:chOff x="0" y="0"/>
            <a:chExt cx="12190506" cy="295275"/>
          </a:xfrm>
        </p:grpSpPr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9DB15FD6-6423-44C1-97A2-8D3D6A0E0CD9}"/>
                </a:ext>
              </a:extLst>
            </p:cNvPr>
            <p:cNvSpPr/>
            <p:nvPr userDrawn="1"/>
          </p:nvSpPr>
          <p:spPr>
            <a:xfrm>
              <a:off x="0" y="0"/>
              <a:ext cx="6096000" cy="295275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350"/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BF939E7E-FB4C-468C-A0E7-674C1DA47D6E}"/>
                </a:ext>
              </a:extLst>
            </p:cNvPr>
            <p:cNvSpPr/>
            <p:nvPr userDrawn="1"/>
          </p:nvSpPr>
          <p:spPr>
            <a:xfrm>
              <a:off x="6097494" y="0"/>
              <a:ext cx="2031004" cy="295275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350"/>
            </a:p>
          </p:txBody>
        </p:sp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F0F3DBF1-D5DE-4B40-BA7D-8C07EE5F807F}"/>
                </a:ext>
              </a:extLst>
            </p:cNvPr>
            <p:cNvSpPr/>
            <p:nvPr userDrawn="1"/>
          </p:nvSpPr>
          <p:spPr>
            <a:xfrm>
              <a:off x="8128498" y="0"/>
              <a:ext cx="2031004" cy="295275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350"/>
            </a:p>
          </p:txBody>
        </p:sp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2D3D883B-B417-41AD-9C65-BE886D37B593}"/>
                </a:ext>
              </a:extLst>
            </p:cNvPr>
            <p:cNvSpPr/>
            <p:nvPr userDrawn="1"/>
          </p:nvSpPr>
          <p:spPr>
            <a:xfrm>
              <a:off x="10159502" y="0"/>
              <a:ext cx="2031004" cy="295275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350"/>
            </a:p>
          </p:txBody>
        </p:sp>
      </p:grpSp>
      <p:sp>
        <p:nvSpPr>
          <p:cNvPr id="24" name="Text Placeholder 6">
            <a:extLst>
              <a:ext uri="{FF2B5EF4-FFF2-40B4-BE49-F238E27FC236}">
                <a16:creationId xmlns:a16="http://schemas.microsoft.com/office/drawing/2014/main" id="{4B1639C2-47C3-4FF7-962D-4A9EEE44921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57404" y="6547763"/>
            <a:ext cx="7052072" cy="120610"/>
          </a:xfrm>
        </p:spPr>
        <p:txBody>
          <a:bodyPr vert="horz" wrap="square" lIns="0" tIns="0" rIns="0" bIns="0" rtlCol="0" anchor="b">
            <a:spAutoFit/>
          </a:bodyPr>
          <a:lstStyle>
            <a:lvl1pPr marL="0" indent="0">
              <a:buNone/>
              <a:defRPr lang="en-US" sz="750" dirty="0" smtClean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lang="en-US" sz="1050" dirty="0" smtClean="0">
                <a:latin typeface="+mj-lt"/>
              </a:defRPr>
            </a:lvl2pPr>
            <a:lvl3pPr>
              <a:defRPr lang="en-US" sz="1050" dirty="0" smtClean="0">
                <a:latin typeface="+mj-lt"/>
              </a:defRPr>
            </a:lvl3pPr>
            <a:lvl4pPr>
              <a:defRPr lang="en-US" sz="1050" dirty="0" smtClean="0">
                <a:latin typeface="+mj-lt"/>
              </a:defRPr>
            </a:lvl4pPr>
            <a:lvl5pPr>
              <a:defRPr lang="en-GB" sz="1050" dirty="0">
                <a:latin typeface="+mj-lt"/>
              </a:defRPr>
            </a:lvl5pPr>
          </a:lstStyle>
          <a:p>
            <a:pPr marL="171446" lvl="0" indent="-171446">
              <a:lnSpc>
                <a:spcPct val="110000"/>
              </a:lnSpc>
              <a:spcBef>
                <a:spcPts val="0"/>
              </a:spcBef>
              <a:spcAft>
                <a:spcPts val="225"/>
              </a:spcAft>
            </a:pPr>
            <a:r>
              <a:rPr lang="en-US" dirty="0"/>
              <a:t>SOURCE:</a:t>
            </a:r>
          </a:p>
        </p:txBody>
      </p:sp>
      <p:pic>
        <p:nvPicPr>
          <p:cNvPr id="25" name="Picture 24" descr="ALMA">
            <a:extLst>
              <a:ext uri="{FF2B5EF4-FFF2-40B4-BE49-F238E27FC236}">
                <a16:creationId xmlns:a16="http://schemas.microsoft.com/office/drawing/2014/main" id="{3784F214-DA51-47C0-AD99-B71E7BDC974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305637" y="6368553"/>
            <a:ext cx="680959" cy="2998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27686221"/>
      </p:ext>
    </p:extLst>
  </p:cSld>
  <p:clrMapOvr>
    <a:masterClrMapping/>
  </p:clrMapOvr>
  <p:hf hdr="0" ftr="0" dt="0"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1.xml"/><Relationship Id="rId5" Type="http://schemas.openxmlformats.org/officeDocument/2006/relationships/vmlDrawing" Target="../drawings/vmlDrawing1.vml"/><Relationship Id="rId10" Type="http://schemas.openxmlformats.org/officeDocument/2006/relationships/image" Target="../media/image3.png"/><Relationship Id="rId4" Type="http://schemas.openxmlformats.org/officeDocument/2006/relationships/theme" Target="../theme/theme1.xml"/><Relationship Id="rId9" Type="http://schemas.openxmlformats.org/officeDocument/2006/relationships/image" Target="../media/image2.pn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.xml"/><Relationship Id="rId13" Type="http://schemas.openxmlformats.org/officeDocument/2006/relationships/slideLayout" Target="../slideLayouts/slideLayout16.xml"/><Relationship Id="rId18" Type="http://schemas.openxmlformats.org/officeDocument/2006/relationships/slideLayout" Target="../slideLayouts/slideLayout21.xml"/><Relationship Id="rId3" Type="http://schemas.openxmlformats.org/officeDocument/2006/relationships/slideLayout" Target="../slideLayouts/slideLayout6.xml"/><Relationship Id="rId7" Type="http://schemas.openxmlformats.org/officeDocument/2006/relationships/slideLayout" Target="../slideLayouts/slideLayout10.xml"/><Relationship Id="rId12" Type="http://schemas.openxmlformats.org/officeDocument/2006/relationships/slideLayout" Target="../slideLayouts/slideLayout15.xml"/><Relationship Id="rId17" Type="http://schemas.openxmlformats.org/officeDocument/2006/relationships/slideLayout" Target="../slideLayouts/slideLayout20.xml"/><Relationship Id="rId2" Type="http://schemas.openxmlformats.org/officeDocument/2006/relationships/slideLayout" Target="../slideLayouts/slideLayout5.xml"/><Relationship Id="rId16" Type="http://schemas.openxmlformats.org/officeDocument/2006/relationships/slideLayout" Target="../slideLayouts/slideLayout19.xml"/><Relationship Id="rId20" Type="http://schemas.openxmlformats.org/officeDocument/2006/relationships/theme" Target="../theme/theme2.xml"/><Relationship Id="rId1" Type="http://schemas.openxmlformats.org/officeDocument/2006/relationships/slideLayout" Target="../slideLayouts/slideLayout4.xml"/><Relationship Id="rId6" Type="http://schemas.openxmlformats.org/officeDocument/2006/relationships/slideLayout" Target="../slideLayouts/slideLayout9.xml"/><Relationship Id="rId11" Type="http://schemas.openxmlformats.org/officeDocument/2006/relationships/slideLayout" Target="../slideLayouts/slideLayout14.xml"/><Relationship Id="rId5" Type="http://schemas.openxmlformats.org/officeDocument/2006/relationships/slideLayout" Target="../slideLayouts/slideLayout8.xml"/><Relationship Id="rId15" Type="http://schemas.openxmlformats.org/officeDocument/2006/relationships/slideLayout" Target="../slideLayouts/slideLayout18.xml"/><Relationship Id="rId10" Type="http://schemas.openxmlformats.org/officeDocument/2006/relationships/slideLayout" Target="../slideLayouts/slideLayout13.xml"/><Relationship Id="rId19" Type="http://schemas.openxmlformats.org/officeDocument/2006/relationships/slideLayout" Target="../slideLayouts/slideLayout22.xml"/><Relationship Id="rId4" Type="http://schemas.openxmlformats.org/officeDocument/2006/relationships/slideLayout" Target="../slideLayouts/slideLayout7.xml"/><Relationship Id="rId9" Type="http://schemas.openxmlformats.org/officeDocument/2006/relationships/slideLayout" Target="../slideLayouts/slideLayout12.xml"/><Relationship Id="rId14" Type="http://schemas.openxmlformats.org/officeDocument/2006/relationships/slideLayout" Target="../slideLayouts/slideLayout1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6"/>
            </p:custDataLst>
          </p:nvPr>
        </p:nvGraphicFramePr>
        <p:xfrm>
          <a:off x="0" y="0"/>
          <a:ext cx="161984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7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2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61984" cy="1619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SlideBottomBar"/>
          <p:cNvSpPr>
            <a:spLocks noChangeArrowheads="1"/>
          </p:cNvSpPr>
          <p:nvPr/>
        </p:nvSpPr>
        <p:spPr bwMode="auto">
          <a:xfrm>
            <a:off x="0" y="6428769"/>
            <a:ext cx="9144000" cy="430852"/>
          </a:xfrm>
          <a:prstGeom prst="rect">
            <a:avLst/>
          </a:prstGeom>
          <a:solidFill>
            <a:srgbClr val="6F0710"/>
          </a:solidFill>
          <a:ln>
            <a:noFill/>
          </a:ln>
          <a:effectLst/>
        </p:spPr>
        <p:txBody>
          <a:bodyPr wrap="none" anchor="ctr"/>
          <a:lstStyle/>
          <a:p>
            <a:endParaRPr lang="en-US" sz="1837" dirty="0">
              <a:solidFill>
                <a:prstClr val="black"/>
              </a:solidFill>
              <a:latin typeface="Arial"/>
            </a:endParaRPr>
          </a:p>
        </p:txBody>
      </p:sp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8246609" y="37255"/>
            <a:ext cx="670614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526"/>
            <a:endParaRPr lang="en-US" sz="816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21489" y="234863"/>
            <a:ext cx="6789623" cy="2983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dirty="0"/>
              <a:t>Click to edit Master title style</a:t>
            </a:r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auto">
          <a:xfrm>
            <a:off x="121489" y="27536"/>
            <a:ext cx="894706" cy="22420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1428" dirty="0">
                <a:solidFill>
                  <a:srgbClr val="808080"/>
                </a:solidFill>
                <a:latin typeface="Arial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auto">
          <a:xfrm>
            <a:off x="121488" y="542616"/>
            <a:ext cx="8794113" cy="2562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32" dirty="0">
                <a:solidFill>
                  <a:srgbClr val="808080"/>
                </a:solidFill>
                <a:latin typeface="Arial"/>
              </a:rPr>
              <a:t>Unit of measure</a:t>
            </a:r>
          </a:p>
        </p:txBody>
      </p:sp>
      <p:grpSp>
        <p:nvGrpSpPr>
          <p:cNvPr id="12" name="Slide Elements" hidden="1"/>
          <p:cNvGrpSpPr>
            <a:grpSpLocks/>
          </p:cNvGrpSpPr>
          <p:nvPr userDrawn="1"/>
        </p:nvGrpSpPr>
        <p:grpSpPr bwMode="auto">
          <a:xfrm>
            <a:off x="121489" y="6198769"/>
            <a:ext cx="8722840" cy="526418"/>
            <a:chOff x="75" y="3827"/>
            <a:chExt cx="5385" cy="325"/>
          </a:xfrm>
        </p:grpSpPr>
        <p:sp>
          <p:nvSpPr>
            <p:cNvPr id="13" name="4. Footnote"/>
            <p:cNvSpPr txBox="1">
              <a:spLocks noChangeArrowheads="1"/>
            </p:cNvSpPr>
            <p:nvPr/>
          </p:nvSpPr>
          <p:spPr bwMode="auto">
            <a:xfrm>
              <a:off x="75" y="3827"/>
              <a:ext cx="5385" cy="9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en-US" sz="1020" dirty="0">
                  <a:solidFill>
                    <a:prstClr val="black"/>
                  </a:solidFill>
                  <a:latin typeface="Arial"/>
                </a:rPr>
                <a:t>1 Footnote</a:t>
              </a:r>
            </a:p>
          </p:txBody>
        </p:sp>
        <p:sp>
          <p:nvSpPr>
            <p:cNvPr id="14" name="5. Source"/>
            <p:cNvSpPr>
              <a:spLocks noChangeArrowheads="1"/>
            </p:cNvSpPr>
            <p:nvPr/>
          </p:nvSpPr>
          <p:spPr bwMode="auto">
            <a:xfrm>
              <a:off x="75" y="4053"/>
              <a:ext cx="4323" cy="9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marL="621975" indent="-621975" defTabSz="913526">
                <a:tabLst>
                  <a:tab pos="625214" algn="l"/>
                </a:tabLst>
              </a:pPr>
              <a:r>
                <a:rPr lang="en-US" sz="1020" dirty="0">
                  <a:solidFill>
                    <a:prstClr val="black"/>
                  </a:solidFill>
                  <a:latin typeface="Arial"/>
                </a:rPr>
                <a:t>SOURCE: Source</a:t>
              </a:r>
            </a:p>
          </p:txBody>
        </p:sp>
      </p:grpSp>
      <p:grpSp>
        <p:nvGrpSpPr>
          <p:cNvPr id="15" name="ACET" hidden="1"/>
          <p:cNvGrpSpPr>
            <a:grpSpLocks/>
          </p:cNvGrpSpPr>
          <p:nvPr userDrawn="1"/>
        </p:nvGrpSpPr>
        <p:grpSpPr bwMode="auto">
          <a:xfrm>
            <a:off x="1482155" y="1072271"/>
            <a:ext cx="4350892" cy="596066"/>
            <a:chOff x="915" y="662"/>
            <a:chExt cx="2686" cy="368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662"/>
              <a:ext cx="2686" cy="36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837" b="1" dirty="0">
                  <a:solidFill>
                    <a:prstClr val="black"/>
                  </a:solidFill>
                  <a:latin typeface="Arial"/>
                </a:rPr>
                <a:t>Title</a:t>
              </a:r>
            </a:p>
            <a:p>
              <a:r>
                <a:rPr lang="en-US" sz="1837" dirty="0">
                  <a:solidFill>
                    <a:srgbClr val="808080"/>
                  </a:solidFill>
                  <a:latin typeface="Arial"/>
                </a:rPr>
                <a:t>Unit of measure</a:t>
              </a:r>
            </a:p>
          </p:txBody>
        </p:sp>
      </p:grp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482156" y="1991016"/>
            <a:ext cx="4389768" cy="1256112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9"/>
          <a:srcRect l="-13685" t="23983" r="13685" b="24747"/>
          <a:stretch/>
        </p:blipFill>
        <p:spPr>
          <a:xfrm>
            <a:off x="8051161" y="6435837"/>
            <a:ext cx="1092839" cy="422164"/>
          </a:xfrm>
          <a:prstGeom prst="rect">
            <a:avLst/>
          </a:prstGeom>
        </p:spPr>
      </p:pic>
      <p:sp>
        <p:nvSpPr>
          <p:cNvPr id="23" name="SlideBottomBar"/>
          <p:cNvSpPr>
            <a:spLocks noChangeArrowheads="1"/>
          </p:cNvSpPr>
          <p:nvPr userDrawn="1"/>
        </p:nvSpPr>
        <p:spPr bwMode="auto">
          <a:xfrm>
            <a:off x="0" y="6006288"/>
            <a:ext cx="9144000" cy="430852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txBody>
          <a:bodyPr wrap="none" anchor="ctr"/>
          <a:lstStyle/>
          <a:p>
            <a:endParaRPr lang="en-US" sz="1837" dirty="0">
              <a:solidFill>
                <a:prstClr val="black"/>
              </a:solidFill>
              <a:latin typeface="Arial"/>
            </a:endParaRPr>
          </a:p>
        </p:txBody>
      </p:sp>
      <p:sp>
        <p:nvSpPr>
          <p:cNvPr id="20" name="Slide Number"/>
          <p:cNvSpPr txBox="1">
            <a:spLocks/>
          </p:cNvSpPr>
          <p:nvPr userDrawn="1"/>
        </p:nvSpPr>
        <p:spPr>
          <a:xfrm>
            <a:off x="8795198" y="6564117"/>
            <a:ext cx="161931" cy="160154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ctr"/>
            <a:fld id="{9DFEBC09-D879-48E7-AEAD-5FE66CDB4CF0}" type="slidenum">
              <a:rPr lang="en-US" sz="1020" smtClean="0">
                <a:solidFill>
                  <a:srgbClr val="39302A"/>
                </a:solidFill>
              </a:rPr>
              <a:pPr algn="ctr"/>
              <a:t>‹#›</a:t>
            </a:fld>
            <a:endParaRPr lang="en-US" sz="1020" dirty="0">
              <a:solidFill>
                <a:srgbClr val="39302A"/>
              </a:solidFill>
            </a:endParaRPr>
          </a:p>
        </p:txBody>
      </p:sp>
      <p:pic>
        <p:nvPicPr>
          <p:cNvPr id="22" name="Picture 11" descr="http://www.alma2015.org/sites/all/themes/alma/images/header-logo.png"/>
          <p:cNvPicPr>
            <a:picLocks noChangeAspect="1" noChangeArrowheads="1"/>
          </p:cNvPicPr>
          <p:nvPr userDrawn="1"/>
        </p:nvPicPr>
        <p:blipFill rotWithShape="1"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7857"/>
          <a:stretch/>
        </p:blipFill>
        <p:spPr bwMode="auto">
          <a:xfrm>
            <a:off x="8417880" y="233589"/>
            <a:ext cx="629726" cy="3008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32876125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6" r:id="rId3"/>
  </p:sldLayoutIdLst>
  <p:hf hdr="0" ftr="0" dt="0"/>
  <p:txStyles>
    <p:titleStyle>
      <a:lvl1pPr algn="l" defTabSz="913526" rtl="0" eaLnBrk="1" fontAlgn="base" hangingPunct="1">
        <a:spcBef>
          <a:spcPct val="0"/>
        </a:spcBef>
        <a:spcAft>
          <a:spcPct val="0"/>
        </a:spcAft>
        <a:tabLst>
          <a:tab pos="275353" algn="l"/>
        </a:tabLst>
        <a:defRPr sz="1939" b="1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2pPr>
      <a:lvl3pPr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3pPr>
      <a:lvl4pPr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4pPr>
      <a:lvl5pPr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5pPr>
      <a:lvl6pPr marL="466481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6pPr>
      <a:lvl7pPr marL="932962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7pPr>
      <a:lvl8pPr marL="1399443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8pPr>
      <a:lvl9pPr marL="1865925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32" baseline="0">
          <a:solidFill>
            <a:schemeClr val="tx1"/>
          </a:solidFill>
          <a:latin typeface="+mn-lt"/>
          <a:ea typeface="+mn-ea"/>
          <a:cs typeface="+mn-cs"/>
        </a:defRPr>
      </a:lvl1pPr>
      <a:lvl2pPr marL="197607" indent="-195987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32" baseline="0">
          <a:solidFill>
            <a:schemeClr val="tx1"/>
          </a:solidFill>
          <a:latin typeface="+mn-lt"/>
        </a:defRPr>
      </a:lvl2pPr>
      <a:lvl3pPr marL="466481" indent="-267255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32" baseline="0">
          <a:solidFill>
            <a:schemeClr val="tx1"/>
          </a:solidFill>
          <a:latin typeface="+mn-lt"/>
        </a:defRPr>
      </a:lvl3pPr>
      <a:lvl4pPr marL="626835" indent="-158733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32" baseline="0">
          <a:solidFill>
            <a:schemeClr val="tx1"/>
          </a:solidFill>
          <a:latin typeface="+mn-lt"/>
        </a:defRPr>
      </a:lvl4pPr>
      <a:lvl5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5pPr>
      <a:lvl6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6pPr>
      <a:lvl7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7pPr>
      <a:lvl8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8pPr>
      <a:lvl9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1pPr>
      <a:lvl2pPr marL="466481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2pPr>
      <a:lvl3pPr marL="932962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3pPr>
      <a:lvl4pPr marL="1399443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4pPr>
      <a:lvl5pPr marL="1865925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5pPr>
      <a:lvl6pPr marL="2332406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6pPr>
      <a:lvl7pPr marL="2798887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7pPr>
      <a:lvl8pPr marL="3265368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8pPr>
      <a:lvl9pPr marL="3731849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8651" y="365129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1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28651" y="6356359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EBC41A8-00F2-4B9E-8EC3-126004A1BDC7}" type="datetimeFigureOut">
              <a:rPr lang="en-GB" smtClean="0"/>
              <a:t>27/10/2020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1" y="6356359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1" y="6356359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DD7DD23-A34B-405D-8F36-5709C0D1BF0C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0402690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8" r:id="rId1"/>
    <p:sldLayoutId id="2147483679" r:id="rId2"/>
    <p:sldLayoutId id="2147483680" r:id="rId3"/>
    <p:sldLayoutId id="2147483681" r:id="rId4"/>
    <p:sldLayoutId id="2147483682" r:id="rId5"/>
    <p:sldLayoutId id="2147483683" r:id="rId6"/>
    <p:sldLayoutId id="2147483684" r:id="rId7"/>
    <p:sldLayoutId id="2147483685" r:id="rId8"/>
    <p:sldLayoutId id="2147483686" r:id="rId9"/>
    <p:sldLayoutId id="2147483687" r:id="rId10"/>
    <p:sldLayoutId id="2147483688" r:id="rId11"/>
    <p:sldLayoutId id="2147483689" r:id="rId12"/>
    <p:sldLayoutId id="2147483690" r:id="rId13"/>
    <p:sldLayoutId id="2147483691" r:id="rId14"/>
    <p:sldLayoutId id="2147483692" r:id="rId15"/>
    <p:sldLayoutId id="2147483693" r:id="rId16"/>
    <p:sldLayoutId id="2147483694" r:id="rId17"/>
    <p:sldLayoutId id="2147483695" r:id="rId18"/>
    <p:sldLayoutId id="2147483696" r:id="rId19"/>
  </p:sldLayoutIdLst>
  <p:txStyles>
    <p:titleStyle>
      <a:lvl1pPr algn="l" defTabSz="685783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46" indent="-171446" algn="l" defTabSz="685783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37" indent="-171446" algn="l" defTabSz="68578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28" indent="-171446" algn="l" defTabSz="68578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20" indent="-171446" algn="l" defTabSz="68578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12" indent="-171446" algn="l" defTabSz="68578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03" indent="-171446" algn="l" defTabSz="68578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795" indent="-171446" algn="l" defTabSz="68578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686" indent="-171446" algn="l" defTabSz="68578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577" indent="-171446" algn="l" defTabSz="68578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892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783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675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566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457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348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240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132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6.xml"/><Relationship Id="rId1" Type="http://schemas.openxmlformats.org/officeDocument/2006/relationships/tags" Target="../tags/tag3.xml"/></Relationships>
</file>

<file path=ppt/slides/_rels/slide2.xml.rels><?xml version="1.0" encoding="UTF-8" standalone="yes"?>
<Relationships xmlns="http://schemas.openxmlformats.org/package/2006/relationships"><Relationship Id="rId26" Type="http://schemas.openxmlformats.org/officeDocument/2006/relationships/tags" Target="../tags/tag29.xml"/><Relationship Id="rId21" Type="http://schemas.openxmlformats.org/officeDocument/2006/relationships/tags" Target="../tags/tag24.xml"/><Relationship Id="rId34" Type="http://schemas.openxmlformats.org/officeDocument/2006/relationships/tags" Target="../tags/tag37.xml"/><Relationship Id="rId42" Type="http://schemas.openxmlformats.org/officeDocument/2006/relationships/tags" Target="../tags/tag45.xml"/><Relationship Id="rId47" Type="http://schemas.openxmlformats.org/officeDocument/2006/relationships/tags" Target="../tags/tag50.xml"/><Relationship Id="rId50" Type="http://schemas.openxmlformats.org/officeDocument/2006/relationships/tags" Target="../tags/tag53.xml"/><Relationship Id="rId55" Type="http://schemas.openxmlformats.org/officeDocument/2006/relationships/tags" Target="../tags/tag58.xml"/><Relationship Id="rId63" Type="http://schemas.openxmlformats.org/officeDocument/2006/relationships/tags" Target="../tags/tag66.xml"/><Relationship Id="rId7" Type="http://schemas.openxmlformats.org/officeDocument/2006/relationships/tags" Target="../tags/tag10.xml"/><Relationship Id="rId2" Type="http://schemas.openxmlformats.org/officeDocument/2006/relationships/tags" Target="../tags/tag5.xml"/><Relationship Id="rId16" Type="http://schemas.openxmlformats.org/officeDocument/2006/relationships/tags" Target="../tags/tag19.xml"/><Relationship Id="rId29" Type="http://schemas.openxmlformats.org/officeDocument/2006/relationships/tags" Target="../tags/tag32.xml"/><Relationship Id="rId11" Type="http://schemas.openxmlformats.org/officeDocument/2006/relationships/tags" Target="../tags/tag14.xml"/><Relationship Id="rId24" Type="http://schemas.openxmlformats.org/officeDocument/2006/relationships/tags" Target="../tags/tag27.xml"/><Relationship Id="rId32" Type="http://schemas.openxmlformats.org/officeDocument/2006/relationships/tags" Target="../tags/tag35.xml"/><Relationship Id="rId37" Type="http://schemas.openxmlformats.org/officeDocument/2006/relationships/tags" Target="../tags/tag40.xml"/><Relationship Id="rId40" Type="http://schemas.openxmlformats.org/officeDocument/2006/relationships/tags" Target="../tags/tag43.xml"/><Relationship Id="rId45" Type="http://schemas.openxmlformats.org/officeDocument/2006/relationships/tags" Target="../tags/tag48.xml"/><Relationship Id="rId53" Type="http://schemas.openxmlformats.org/officeDocument/2006/relationships/tags" Target="../tags/tag56.xml"/><Relationship Id="rId58" Type="http://schemas.openxmlformats.org/officeDocument/2006/relationships/tags" Target="../tags/tag61.xml"/><Relationship Id="rId5" Type="http://schemas.openxmlformats.org/officeDocument/2006/relationships/tags" Target="../tags/tag8.xml"/><Relationship Id="rId61" Type="http://schemas.openxmlformats.org/officeDocument/2006/relationships/tags" Target="../tags/tag64.xml"/><Relationship Id="rId19" Type="http://schemas.openxmlformats.org/officeDocument/2006/relationships/tags" Target="../tags/tag22.xml"/><Relationship Id="rId14" Type="http://schemas.openxmlformats.org/officeDocument/2006/relationships/tags" Target="../tags/tag17.xml"/><Relationship Id="rId22" Type="http://schemas.openxmlformats.org/officeDocument/2006/relationships/tags" Target="../tags/tag25.xml"/><Relationship Id="rId27" Type="http://schemas.openxmlformats.org/officeDocument/2006/relationships/tags" Target="../tags/tag30.xml"/><Relationship Id="rId30" Type="http://schemas.openxmlformats.org/officeDocument/2006/relationships/tags" Target="../tags/tag33.xml"/><Relationship Id="rId35" Type="http://schemas.openxmlformats.org/officeDocument/2006/relationships/tags" Target="../tags/tag38.xml"/><Relationship Id="rId43" Type="http://schemas.openxmlformats.org/officeDocument/2006/relationships/tags" Target="../tags/tag46.xml"/><Relationship Id="rId48" Type="http://schemas.openxmlformats.org/officeDocument/2006/relationships/tags" Target="../tags/tag51.xml"/><Relationship Id="rId56" Type="http://schemas.openxmlformats.org/officeDocument/2006/relationships/tags" Target="../tags/tag59.xml"/><Relationship Id="rId64" Type="http://schemas.openxmlformats.org/officeDocument/2006/relationships/tags" Target="../tags/tag67.xml"/><Relationship Id="rId8" Type="http://schemas.openxmlformats.org/officeDocument/2006/relationships/tags" Target="../tags/tag11.xml"/><Relationship Id="rId51" Type="http://schemas.openxmlformats.org/officeDocument/2006/relationships/tags" Target="../tags/tag54.xml"/><Relationship Id="rId3" Type="http://schemas.openxmlformats.org/officeDocument/2006/relationships/tags" Target="../tags/tag6.xml"/><Relationship Id="rId12" Type="http://schemas.openxmlformats.org/officeDocument/2006/relationships/tags" Target="../tags/tag15.xml"/><Relationship Id="rId17" Type="http://schemas.openxmlformats.org/officeDocument/2006/relationships/tags" Target="../tags/tag20.xml"/><Relationship Id="rId25" Type="http://schemas.openxmlformats.org/officeDocument/2006/relationships/tags" Target="../tags/tag28.xml"/><Relationship Id="rId33" Type="http://schemas.openxmlformats.org/officeDocument/2006/relationships/tags" Target="../tags/tag36.xml"/><Relationship Id="rId38" Type="http://schemas.openxmlformats.org/officeDocument/2006/relationships/tags" Target="../tags/tag41.xml"/><Relationship Id="rId46" Type="http://schemas.openxmlformats.org/officeDocument/2006/relationships/tags" Target="../tags/tag49.xml"/><Relationship Id="rId59" Type="http://schemas.openxmlformats.org/officeDocument/2006/relationships/tags" Target="../tags/tag62.xml"/><Relationship Id="rId20" Type="http://schemas.openxmlformats.org/officeDocument/2006/relationships/tags" Target="../tags/tag23.xml"/><Relationship Id="rId41" Type="http://schemas.openxmlformats.org/officeDocument/2006/relationships/tags" Target="../tags/tag44.xml"/><Relationship Id="rId54" Type="http://schemas.openxmlformats.org/officeDocument/2006/relationships/tags" Target="../tags/tag57.xml"/><Relationship Id="rId62" Type="http://schemas.openxmlformats.org/officeDocument/2006/relationships/tags" Target="../tags/tag65.xml"/><Relationship Id="rId1" Type="http://schemas.openxmlformats.org/officeDocument/2006/relationships/tags" Target="../tags/tag4.xml"/><Relationship Id="rId6" Type="http://schemas.openxmlformats.org/officeDocument/2006/relationships/tags" Target="../tags/tag9.xml"/><Relationship Id="rId15" Type="http://schemas.openxmlformats.org/officeDocument/2006/relationships/tags" Target="../tags/tag18.xml"/><Relationship Id="rId23" Type="http://schemas.openxmlformats.org/officeDocument/2006/relationships/tags" Target="../tags/tag26.xml"/><Relationship Id="rId28" Type="http://schemas.openxmlformats.org/officeDocument/2006/relationships/tags" Target="../tags/tag31.xml"/><Relationship Id="rId36" Type="http://schemas.openxmlformats.org/officeDocument/2006/relationships/tags" Target="../tags/tag39.xml"/><Relationship Id="rId49" Type="http://schemas.openxmlformats.org/officeDocument/2006/relationships/tags" Target="../tags/tag52.xml"/><Relationship Id="rId57" Type="http://schemas.openxmlformats.org/officeDocument/2006/relationships/tags" Target="../tags/tag60.xml"/><Relationship Id="rId10" Type="http://schemas.openxmlformats.org/officeDocument/2006/relationships/tags" Target="../tags/tag13.xml"/><Relationship Id="rId31" Type="http://schemas.openxmlformats.org/officeDocument/2006/relationships/tags" Target="../tags/tag34.xml"/><Relationship Id="rId44" Type="http://schemas.openxmlformats.org/officeDocument/2006/relationships/tags" Target="../tags/tag47.xml"/><Relationship Id="rId52" Type="http://schemas.openxmlformats.org/officeDocument/2006/relationships/tags" Target="../tags/tag55.xml"/><Relationship Id="rId60" Type="http://schemas.openxmlformats.org/officeDocument/2006/relationships/tags" Target="../tags/tag63.xml"/><Relationship Id="rId65" Type="http://schemas.openxmlformats.org/officeDocument/2006/relationships/slideLayout" Target="../slideLayouts/slideLayout6.xml"/><Relationship Id="rId4" Type="http://schemas.openxmlformats.org/officeDocument/2006/relationships/tags" Target="../tags/tag7.xml"/><Relationship Id="rId9" Type="http://schemas.openxmlformats.org/officeDocument/2006/relationships/tags" Target="../tags/tag12.xml"/><Relationship Id="rId13" Type="http://schemas.openxmlformats.org/officeDocument/2006/relationships/tags" Target="../tags/tag16.xml"/><Relationship Id="rId18" Type="http://schemas.openxmlformats.org/officeDocument/2006/relationships/tags" Target="../tags/tag21.xml"/><Relationship Id="rId39" Type="http://schemas.openxmlformats.org/officeDocument/2006/relationships/tags" Target="../tags/tag4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1">
            <a:extLst>
              <a:ext uri="{FF2B5EF4-FFF2-40B4-BE49-F238E27FC236}">
                <a16:creationId xmlns:a16="http://schemas.microsoft.com/office/drawing/2014/main" id="{22116248-7A6E-4902-A304-072D8A648E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783440"/>
            <a:ext cx="8229600" cy="443198"/>
          </a:xfrm>
        </p:spPr>
        <p:txBody>
          <a:bodyPr wrap="square" lIns="0" tIns="0" rIns="0" bIns="0" anchor="t">
            <a:spAutoFit/>
          </a:bodyPr>
          <a:lstStyle>
            <a:lvl1pPr>
              <a:defRPr sz="3200" b="1" baseline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Worksheet discussion template</a:t>
            </a:r>
            <a:endParaRPr lang="en-GB" dirty="0"/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2627CC40-8BF2-4A7C-9CCA-CB568ED157A6}"/>
              </a:ext>
            </a:extLst>
          </p:cNvPr>
          <p:cNvSpPr txBox="1">
            <a:spLocks/>
          </p:cNvSpPr>
          <p:nvPr/>
        </p:nvSpPr>
        <p:spPr>
          <a:xfrm>
            <a:off x="457200" y="427742"/>
            <a:ext cx="8229600" cy="3323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 defTabSz="68578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1" kern="1200" baseline="0">
                <a:solidFill>
                  <a:schemeClr val="tx2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lvl="0">
              <a:defRPr/>
            </a:pPr>
            <a:r>
              <a:rPr lang="en-US" sz="2400" b="0" dirty="0">
                <a:solidFill>
                  <a:prstClr val="black">
                    <a:lumMod val="65000"/>
                    <a:lumOff val="35000"/>
                  </a:prstClr>
                </a:solidFill>
              </a:rPr>
              <a:t>2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. </a:t>
            </a:r>
            <a:r>
              <a:rPr lang="en-US" sz="2400" b="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Identify existing accountability mechanisms </a:t>
            </a:r>
            <a:endParaRPr kumimoji="0" lang="en-GB" sz="24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Arial" panose="020B0604020202020204" pitchFamily="34" charset="0"/>
              <a:ea typeface="+mj-ea"/>
              <a:cs typeface="Arial" panose="020B0604020202020204" pitchFamily="34" charset="0"/>
            </a:endParaRPr>
          </a:p>
        </p:txBody>
      </p:sp>
      <p:graphicFrame>
        <p:nvGraphicFramePr>
          <p:cNvPr id="77" name="Table 76">
            <a:extLst>
              <a:ext uri="{FF2B5EF4-FFF2-40B4-BE49-F238E27FC236}">
                <a16:creationId xmlns:a16="http://schemas.microsoft.com/office/drawing/2014/main" id="{51DADB29-33D4-6342-B98A-996C9C84D29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4500752"/>
              </p:ext>
            </p:extLst>
          </p:nvPr>
        </p:nvGraphicFramePr>
        <p:xfrm>
          <a:off x="279422" y="1388531"/>
          <a:ext cx="8585154" cy="486496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43085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430859">
                  <a:extLst>
                    <a:ext uri="{9D8B030D-6E8A-4147-A177-3AD203B41FA5}">
                      <a16:colId xmlns:a16="http://schemas.microsoft.com/office/drawing/2014/main" val="943217572"/>
                    </a:ext>
                  </a:extLst>
                </a:gridCol>
                <a:gridCol w="1430859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430859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430859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430859">
                  <a:extLst>
                    <a:ext uri="{9D8B030D-6E8A-4147-A177-3AD203B41FA5}">
                      <a16:colId xmlns:a16="http://schemas.microsoft.com/office/drawing/2014/main" val="3838266796"/>
                    </a:ext>
                  </a:extLst>
                </a:gridCol>
              </a:tblGrid>
              <a:tr h="602302">
                <a:tc>
                  <a:txBody>
                    <a:bodyPr/>
                    <a:lstStyle/>
                    <a:p>
                      <a:r>
                        <a:rPr lang="en-US" sz="1200" dirty="0">
                          <a:solidFill>
                            <a:schemeClr val="tx1"/>
                          </a:solidFill>
                        </a:rPr>
                        <a:t>Meeting</a:t>
                      </a:r>
                    </a:p>
                  </a:txBody>
                  <a:tcPr marL="93297" marR="93297" marT="46649" marB="46649" anchor="ctr"/>
                </a:tc>
                <a:tc>
                  <a:txBody>
                    <a:bodyPr/>
                    <a:lstStyle/>
                    <a:p>
                      <a:r>
                        <a:rPr lang="en-US" sz="1200" dirty="0">
                          <a:solidFill>
                            <a:schemeClr val="tx1"/>
                          </a:solidFill>
                        </a:rPr>
                        <a:t>Level (National, Subnational, Community)</a:t>
                      </a:r>
                    </a:p>
                  </a:txBody>
                  <a:tcPr marL="93297" marR="93297" marT="46649" marB="46649" anchor="ctr"/>
                </a:tc>
                <a:tc>
                  <a:txBody>
                    <a:bodyPr/>
                    <a:lstStyle/>
                    <a:p>
                      <a:r>
                        <a:rPr lang="en-US" sz="1200" dirty="0">
                          <a:solidFill>
                            <a:schemeClr val="tx1"/>
                          </a:solidFill>
                        </a:rPr>
                        <a:t>Participants</a:t>
                      </a:r>
                    </a:p>
                  </a:txBody>
                  <a:tcPr marL="93297" marR="93297" marT="46649" marB="46649" anchor="ctr"/>
                </a:tc>
                <a:tc>
                  <a:txBody>
                    <a:bodyPr/>
                    <a:lstStyle/>
                    <a:p>
                      <a:r>
                        <a:rPr lang="en-US" sz="1200" dirty="0">
                          <a:solidFill>
                            <a:schemeClr val="tx1"/>
                          </a:solidFill>
                        </a:rPr>
                        <a:t>Agenda</a:t>
                      </a:r>
                    </a:p>
                  </a:txBody>
                  <a:tcPr marL="93297" marR="93297" marT="46649" marB="46649" anchor="ctr"/>
                </a:tc>
                <a:tc>
                  <a:txBody>
                    <a:bodyPr/>
                    <a:lstStyle/>
                    <a:p>
                      <a:r>
                        <a:rPr lang="en-US" sz="1200" dirty="0">
                          <a:solidFill>
                            <a:schemeClr val="tx1"/>
                          </a:solidFill>
                        </a:rPr>
                        <a:t>Frequency</a:t>
                      </a:r>
                    </a:p>
                  </a:txBody>
                  <a:tcPr marL="93297" marR="93297" marT="46649" marB="46649" anchor="ctr"/>
                </a:tc>
                <a:tc>
                  <a:txBody>
                    <a:bodyPr/>
                    <a:lstStyle/>
                    <a:p>
                      <a:r>
                        <a:rPr lang="en-US" sz="1200" dirty="0">
                          <a:solidFill>
                            <a:schemeClr val="tx1"/>
                          </a:solidFill>
                        </a:rPr>
                        <a:t>Suitable for scorecard discussion?</a:t>
                      </a:r>
                    </a:p>
                  </a:txBody>
                  <a:tcPr marL="93297" marR="93297" marT="46649" marB="46649"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603290">
                <a:tc>
                  <a:txBody>
                    <a:bodyPr/>
                    <a:lstStyle/>
                    <a:p>
                      <a:endParaRPr lang="en-US" sz="1200">
                        <a:solidFill>
                          <a:schemeClr val="tx1"/>
                        </a:solidFill>
                      </a:endParaRPr>
                    </a:p>
                  </a:txBody>
                  <a:tcPr marL="93297" marR="93297" marT="46649" marB="46649" anchor="ctr"/>
                </a:tc>
                <a:tc>
                  <a:txBody>
                    <a:bodyPr/>
                    <a:lstStyle/>
                    <a:p>
                      <a:endParaRPr lang="en-US" sz="1200">
                        <a:solidFill>
                          <a:schemeClr val="tx1"/>
                        </a:solidFill>
                      </a:endParaRPr>
                    </a:p>
                  </a:txBody>
                  <a:tcPr marL="93297" marR="93297" marT="46649" marB="46649" anchor="ctr"/>
                </a:tc>
                <a:tc>
                  <a:txBody>
                    <a:bodyPr/>
                    <a:lstStyle/>
                    <a:p>
                      <a:endParaRPr lang="en-US" sz="1200">
                        <a:solidFill>
                          <a:schemeClr val="tx1"/>
                        </a:solidFill>
                      </a:endParaRPr>
                    </a:p>
                  </a:txBody>
                  <a:tcPr marL="93297" marR="93297" marT="46649" marB="46649" anchor="ctr"/>
                </a:tc>
                <a:tc>
                  <a:txBody>
                    <a:bodyPr/>
                    <a:lstStyle/>
                    <a:p>
                      <a:endParaRPr lang="en-US" sz="1200">
                        <a:solidFill>
                          <a:schemeClr val="tx1"/>
                        </a:solidFill>
                      </a:endParaRPr>
                    </a:p>
                  </a:txBody>
                  <a:tcPr marL="93297" marR="93297" marT="46649" marB="46649" anchor="ctr"/>
                </a:tc>
                <a:tc>
                  <a:txBody>
                    <a:bodyPr/>
                    <a:lstStyle/>
                    <a:p>
                      <a:endParaRPr 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 marL="93297" marR="93297" marT="46649" marB="46649" anchor="ctr"/>
                </a:tc>
                <a:tc>
                  <a:txBody>
                    <a:bodyPr/>
                    <a:lstStyle/>
                    <a:p>
                      <a:endParaRPr 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 marL="93297" marR="93297" marT="46649" marB="46649"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603290">
                <a:tc>
                  <a:txBody>
                    <a:bodyPr/>
                    <a:lstStyle/>
                    <a:p>
                      <a:endParaRPr lang="en-US" sz="1200">
                        <a:solidFill>
                          <a:schemeClr val="tx1"/>
                        </a:solidFill>
                      </a:endParaRPr>
                    </a:p>
                  </a:txBody>
                  <a:tcPr marL="93297" marR="93297" marT="46649" marB="46649" anchor="ctr"/>
                </a:tc>
                <a:tc>
                  <a:txBody>
                    <a:bodyPr/>
                    <a:lstStyle/>
                    <a:p>
                      <a:endParaRPr lang="en-US" sz="1200">
                        <a:solidFill>
                          <a:schemeClr val="tx1"/>
                        </a:solidFill>
                      </a:endParaRPr>
                    </a:p>
                  </a:txBody>
                  <a:tcPr marL="93297" marR="93297" marT="46649" marB="46649" anchor="ctr"/>
                </a:tc>
                <a:tc>
                  <a:txBody>
                    <a:bodyPr/>
                    <a:lstStyle/>
                    <a:p>
                      <a:endParaRPr lang="en-US" sz="1200">
                        <a:solidFill>
                          <a:schemeClr val="tx1"/>
                        </a:solidFill>
                      </a:endParaRPr>
                    </a:p>
                  </a:txBody>
                  <a:tcPr marL="93297" marR="93297" marT="46649" marB="46649" anchor="ctr"/>
                </a:tc>
                <a:tc>
                  <a:txBody>
                    <a:bodyPr/>
                    <a:lstStyle/>
                    <a:p>
                      <a:endParaRPr lang="en-US" sz="1200">
                        <a:solidFill>
                          <a:schemeClr val="tx1"/>
                        </a:solidFill>
                      </a:endParaRPr>
                    </a:p>
                  </a:txBody>
                  <a:tcPr marL="93297" marR="93297" marT="46649" marB="46649" anchor="ctr"/>
                </a:tc>
                <a:tc>
                  <a:txBody>
                    <a:bodyPr/>
                    <a:lstStyle/>
                    <a:p>
                      <a:endParaRPr 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 marL="93297" marR="93297" marT="46649" marB="46649" anchor="ctr"/>
                </a:tc>
                <a:tc>
                  <a:txBody>
                    <a:bodyPr/>
                    <a:lstStyle/>
                    <a:p>
                      <a:endParaRPr 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 marL="93297" marR="93297" marT="46649" marB="46649" anchor="ctr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603290">
                <a:tc>
                  <a:txBody>
                    <a:bodyPr/>
                    <a:lstStyle/>
                    <a:p>
                      <a:endParaRPr lang="en-US" sz="1200">
                        <a:solidFill>
                          <a:schemeClr val="tx1"/>
                        </a:solidFill>
                      </a:endParaRPr>
                    </a:p>
                  </a:txBody>
                  <a:tcPr marL="93297" marR="93297" marT="46649" marB="46649" anchor="ctr"/>
                </a:tc>
                <a:tc>
                  <a:txBody>
                    <a:bodyPr/>
                    <a:lstStyle/>
                    <a:p>
                      <a:endParaRPr lang="en-US" sz="1200">
                        <a:solidFill>
                          <a:schemeClr val="tx1"/>
                        </a:solidFill>
                      </a:endParaRPr>
                    </a:p>
                  </a:txBody>
                  <a:tcPr marL="93297" marR="93297" marT="46649" marB="46649" anchor="ctr"/>
                </a:tc>
                <a:tc>
                  <a:txBody>
                    <a:bodyPr/>
                    <a:lstStyle/>
                    <a:p>
                      <a:endParaRPr lang="en-US" sz="1200">
                        <a:solidFill>
                          <a:schemeClr val="tx1"/>
                        </a:solidFill>
                      </a:endParaRPr>
                    </a:p>
                  </a:txBody>
                  <a:tcPr marL="93297" marR="93297" marT="46649" marB="46649" anchor="ctr"/>
                </a:tc>
                <a:tc>
                  <a:txBody>
                    <a:bodyPr/>
                    <a:lstStyle/>
                    <a:p>
                      <a:endParaRPr lang="en-US" sz="1200">
                        <a:solidFill>
                          <a:schemeClr val="tx1"/>
                        </a:solidFill>
                      </a:endParaRPr>
                    </a:p>
                  </a:txBody>
                  <a:tcPr marL="93297" marR="93297" marT="46649" marB="46649" anchor="ctr"/>
                </a:tc>
                <a:tc>
                  <a:txBody>
                    <a:bodyPr/>
                    <a:lstStyle/>
                    <a:p>
                      <a:endParaRPr 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 marL="93297" marR="93297" marT="46649" marB="46649" anchor="ctr"/>
                </a:tc>
                <a:tc>
                  <a:txBody>
                    <a:bodyPr/>
                    <a:lstStyle/>
                    <a:p>
                      <a:endParaRPr 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 marL="93297" marR="93297" marT="46649" marB="46649" anchor="ctr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603290">
                <a:tc>
                  <a:txBody>
                    <a:bodyPr/>
                    <a:lstStyle/>
                    <a:p>
                      <a:endParaRPr lang="en-US" sz="1200">
                        <a:solidFill>
                          <a:schemeClr val="tx1"/>
                        </a:solidFill>
                      </a:endParaRPr>
                    </a:p>
                  </a:txBody>
                  <a:tcPr marL="93297" marR="93297" marT="46649" marB="46649" anchor="ctr"/>
                </a:tc>
                <a:tc>
                  <a:txBody>
                    <a:bodyPr/>
                    <a:lstStyle/>
                    <a:p>
                      <a:endParaRPr lang="en-US" sz="1200">
                        <a:solidFill>
                          <a:schemeClr val="tx1"/>
                        </a:solidFill>
                      </a:endParaRPr>
                    </a:p>
                  </a:txBody>
                  <a:tcPr marL="93297" marR="93297" marT="46649" marB="46649" anchor="ctr"/>
                </a:tc>
                <a:tc>
                  <a:txBody>
                    <a:bodyPr/>
                    <a:lstStyle/>
                    <a:p>
                      <a:endParaRPr lang="en-US" sz="1200">
                        <a:solidFill>
                          <a:schemeClr val="tx1"/>
                        </a:solidFill>
                      </a:endParaRPr>
                    </a:p>
                  </a:txBody>
                  <a:tcPr marL="93297" marR="93297" marT="46649" marB="46649" anchor="ctr"/>
                </a:tc>
                <a:tc>
                  <a:txBody>
                    <a:bodyPr/>
                    <a:lstStyle/>
                    <a:p>
                      <a:endParaRPr lang="en-US" sz="1200">
                        <a:solidFill>
                          <a:schemeClr val="tx1"/>
                        </a:solidFill>
                      </a:endParaRPr>
                    </a:p>
                  </a:txBody>
                  <a:tcPr marL="93297" marR="93297" marT="46649" marB="46649" anchor="ctr"/>
                </a:tc>
                <a:tc>
                  <a:txBody>
                    <a:bodyPr/>
                    <a:lstStyle/>
                    <a:p>
                      <a:endParaRPr 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 marL="93297" marR="93297" marT="46649" marB="46649" anchor="ctr"/>
                </a:tc>
                <a:tc>
                  <a:txBody>
                    <a:bodyPr/>
                    <a:lstStyle/>
                    <a:p>
                      <a:endParaRPr 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 marL="93297" marR="93297" marT="46649" marB="46649" anchor="ctr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603290">
                <a:tc>
                  <a:txBody>
                    <a:bodyPr/>
                    <a:lstStyle/>
                    <a:p>
                      <a:endParaRPr lang="en-US" sz="1200">
                        <a:solidFill>
                          <a:schemeClr val="tx1"/>
                        </a:solidFill>
                      </a:endParaRPr>
                    </a:p>
                  </a:txBody>
                  <a:tcPr marL="93297" marR="93297" marT="46649" marB="46649" anchor="ctr"/>
                </a:tc>
                <a:tc>
                  <a:txBody>
                    <a:bodyPr/>
                    <a:lstStyle/>
                    <a:p>
                      <a:endParaRPr lang="en-US" sz="1200">
                        <a:solidFill>
                          <a:schemeClr val="tx1"/>
                        </a:solidFill>
                      </a:endParaRPr>
                    </a:p>
                  </a:txBody>
                  <a:tcPr marL="93297" marR="93297" marT="46649" marB="46649" anchor="ctr"/>
                </a:tc>
                <a:tc>
                  <a:txBody>
                    <a:bodyPr/>
                    <a:lstStyle/>
                    <a:p>
                      <a:endParaRPr lang="en-US" sz="1200">
                        <a:solidFill>
                          <a:schemeClr val="tx1"/>
                        </a:solidFill>
                      </a:endParaRPr>
                    </a:p>
                  </a:txBody>
                  <a:tcPr marL="93297" marR="93297" marT="46649" marB="46649" anchor="ctr"/>
                </a:tc>
                <a:tc>
                  <a:txBody>
                    <a:bodyPr/>
                    <a:lstStyle/>
                    <a:p>
                      <a:endParaRPr lang="en-US" sz="1200">
                        <a:solidFill>
                          <a:schemeClr val="tx1"/>
                        </a:solidFill>
                      </a:endParaRPr>
                    </a:p>
                  </a:txBody>
                  <a:tcPr marL="93297" marR="93297" marT="46649" marB="46649" anchor="ctr"/>
                </a:tc>
                <a:tc>
                  <a:txBody>
                    <a:bodyPr/>
                    <a:lstStyle/>
                    <a:p>
                      <a:endParaRPr 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 marL="93297" marR="93297" marT="46649" marB="46649" anchor="ctr"/>
                </a:tc>
                <a:tc>
                  <a:txBody>
                    <a:bodyPr/>
                    <a:lstStyle/>
                    <a:p>
                      <a:endParaRPr 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 marL="93297" marR="93297" marT="46649" marB="46649" anchor="ctr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603290">
                <a:tc>
                  <a:txBody>
                    <a:bodyPr/>
                    <a:lstStyle/>
                    <a:p>
                      <a:endParaRPr 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 marL="93297" marR="93297" marT="46649" marB="46649" anchor="ctr"/>
                </a:tc>
                <a:tc>
                  <a:txBody>
                    <a:bodyPr/>
                    <a:lstStyle/>
                    <a:p>
                      <a:endParaRPr lang="en-US" sz="1200">
                        <a:solidFill>
                          <a:schemeClr val="tx1"/>
                        </a:solidFill>
                      </a:endParaRPr>
                    </a:p>
                  </a:txBody>
                  <a:tcPr marL="93297" marR="93297" marT="46649" marB="46649" anchor="ctr"/>
                </a:tc>
                <a:tc>
                  <a:txBody>
                    <a:bodyPr/>
                    <a:lstStyle/>
                    <a:p>
                      <a:endParaRPr lang="en-US" sz="1200">
                        <a:solidFill>
                          <a:schemeClr val="tx1"/>
                        </a:solidFill>
                      </a:endParaRPr>
                    </a:p>
                  </a:txBody>
                  <a:tcPr marL="93297" marR="93297" marT="46649" marB="46649" anchor="ctr"/>
                </a:tc>
                <a:tc>
                  <a:txBody>
                    <a:bodyPr/>
                    <a:lstStyle/>
                    <a:p>
                      <a:endParaRPr lang="en-US" sz="1200">
                        <a:solidFill>
                          <a:schemeClr val="tx1"/>
                        </a:solidFill>
                      </a:endParaRPr>
                    </a:p>
                  </a:txBody>
                  <a:tcPr marL="93297" marR="93297" marT="46649" marB="46649" anchor="ctr"/>
                </a:tc>
                <a:tc>
                  <a:txBody>
                    <a:bodyPr/>
                    <a:lstStyle/>
                    <a:p>
                      <a:endParaRPr 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 marL="93297" marR="93297" marT="46649" marB="46649" anchor="ctr"/>
                </a:tc>
                <a:tc>
                  <a:txBody>
                    <a:bodyPr/>
                    <a:lstStyle/>
                    <a:p>
                      <a:endParaRPr 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 marL="93297" marR="93297" marT="46649" marB="46649" anchor="ctr"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603290">
                <a:tc>
                  <a:txBody>
                    <a:bodyPr/>
                    <a:lstStyle/>
                    <a:p>
                      <a:endParaRPr lang="en-US" sz="1200">
                        <a:solidFill>
                          <a:schemeClr val="tx1"/>
                        </a:solidFill>
                      </a:endParaRPr>
                    </a:p>
                  </a:txBody>
                  <a:tcPr marL="93297" marR="93297" marT="46649" marB="46649" anchor="ctr"/>
                </a:tc>
                <a:tc>
                  <a:txBody>
                    <a:bodyPr/>
                    <a:lstStyle/>
                    <a:p>
                      <a:endParaRPr lang="en-US" sz="1200">
                        <a:solidFill>
                          <a:schemeClr val="tx1"/>
                        </a:solidFill>
                      </a:endParaRPr>
                    </a:p>
                  </a:txBody>
                  <a:tcPr marL="93297" marR="93297" marT="46649" marB="46649" anchor="ctr"/>
                </a:tc>
                <a:tc>
                  <a:txBody>
                    <a:bodyPr/>
                    <a:lstStyle/>
                    <a:p>
                      <a:endParaRPr lang="en-US" sz="1200">
                        <a:solidFill>
                          <a:schemeClr val="tx1"/>
                        </a:solidFill>
                      </a:endParaRPr>
                    </a:p>
                  </a:txBody>
                  <a:tcPr marL="93297" marR="93297" marT="46649" marB="46649" anchor="ctr"/>
                </a:tc>
                <a:tc>
                  <a:txBody>
                    <a:bodyPr/>
                    <a:lstStyle/>
                    <a:p>
                      <a:endParaRPr lang="en-US" sz="1200">
                        <a:solidFill>
                          <a:schemeClr val="tx1"/>
                        </a:solidFill>
                      </a:endParaRPr>
                    </a:p>
                  </a:txBody>
                  <a:tcPr marL="93297" marR="93297" marT="46649" marB="46649" anchor="ctr"/>
                </a:tc>
                <a:tc>
                  <a:txBody>
                    <a:bodyPr/>
                    <a:lstStyle/>
                    <a:p>
                      <a:endParaRPr 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 marL="93297" marR="93297" marT="46649" marB="46649" anchor="ctr"/>
                </a:tc>
                <a:tc>
                  <a:txBody>
                    <a:bodyPr/>
                    <a:lstStyle/>
                    <a:p>
                      <a:endParaRPr 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 marL="93297" marR="93297" marT="46649" marB="46649" anchor="ctr"/>
                </a:tc>
                <a:extLst>
                  <a:ext uri="{0D108BD9-81ED-4DB2-BD59-A6C34878D82A}">
                    <a16:rowId xmlns:a16="http://schemas.microsoft.com/office/drawing/2014/main" val="2648960981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22394927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 advTm="43426"/>
    </mc:Choice>
    <mc:Fallback>
      <p:transition spd="slow" advTm="43426"/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1">
            <a:extLst>
              <a:ext uri="{FF2B5EF4-FFF2-40B4-BE49-F238E27FC236}">
                <a16:creationId xmlns:a16="http://schemas.microsoft.com/office/drawing/2014/main" id="{22116248-7A6E-4902-A304-072D8A648E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783440"/>
            <a:ext cx="8229600" cy="443198"/>
          </a:xfrm>
        </p:spPr>
        <p:txBody>
          <a:bodyPr wrap="square" lIns="0" tIns="0" rIns="0" bIns="0" anchor="t">
            <a:spAutoFit/>
          </a:bodyPr>
          <a:lstStyle>
            <a:lvl1pPr>
              <a:defRPr sz="3200" b="1" baseline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Example: Roles and responsibilities</a:t>
            </a:r>
            <a:endParaRPr lang="en-GB" dirty="0"/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2627CC40-8BF2-4A7C-9CCA-CB568ED157A6}"/>
              </a:ext>
            </a:extLst>
          </p:cNvPr>
          <p:cNvSpPr txBox="1">
            <a:spLocks/>
          </p:cNvSpPr>
          <p:nvPr/>
        </p:nvSpPr>
        <p:spPr>
          <a:xfrm>
            <a:off x="457200" y="427742"/>
            <a:ext cx="8229600" cy="3323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 defTabSz="68578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1" kern="1200" baseline="0">
                <a:solidFill>
                  <a:schemeClr val="tx2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marL="0" marR="0" lvl="0" indent="0" algn="l" defTabSz="685783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3. Quarterly process</a:t>
            </a:r>
            <a:endParaRPr kumimoji="0" lang="en-GB" sz="24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Arial" panose="020B0604020202020204" pitchFamily="34" charset="0"/>
              <a:ea typeface="+mj-ea"/>
              <a:cs typeface="Arial" panose="020B0604020202020204" pitchFamily="34" charset="0"/>
            </a:endParaRPr>
          </a:p>
        </p:txBody>
      </p:sp>
      <p:sp>
        <p:nvSpPr>
          <p:cNvPr id="5" name="TextBox 5">
            <a:extLst>
              <a:ext uri="{FF2B5EF4-FFF2-40B4-BE49-F238E27FC236}">
                <a16:creationId xmlns:a16="http://schemas.microsoft.com/office/drawing/2014/main" id="{9FB043BD-B56F-4742-9220-85537C4235A6}"/>
              </a:ext>
            </a:extLst>
          </p:cNvPr>
          <p:cNvSpPr txBox="1">
            <a:spLocks/>
          </p:cNvSpPr>
          <p:nvPr>
            <p:custDataLst>
              <p:tags r:id="rId2"/>
            </p:custDataLst>
          </p:nvPr>
        </p:nvSpPr>
        <p:spPr bwMode="gray">
          <a:xfrm>
            <a:off x="166509" y="4503633"/>
            <a:ext cx="1295722" cy="571970"/>
          </a:xfrm>
          <a:prstGeom prst="rect">
            <a:avLst/>
          </a:prstGeom>
          <a:solidFill>
            <a:schemeClr val="tx2"/>
          </a:solidFill>
          <a:ln w="12700">
            <a:solidFill>
              <a:schemeClr val="bg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77740" tIns="77740" rIns="77740" bIns="77740" numCol="1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lvl="0" indent="0" defTabSz="895350" eaLnBrk="1" hangingPunct="1">
              <a:buClr>
                <a:srgbClr val="002960"/>
              </a:buClr>
              <a:buSzTx/>
              <a:buFontTx/>
              <a:buNone/>
              <a:defRPr sz="1100" b="1" baseline="0">
                <a:solidFill>
                  <a:schemeClr val="bg1"/>
                </a:solidFill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0" marR="0" lvl="0" indent="0" algn="l" defTabSz="895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2960"/>
              </a:buClr>
              <a:buSzTx/>
              <a:buFontTx/>
              <a:buNone/>
              <a:tabLst/>
              <a:defRPr/>
            </a:pPr>
            <a:r>
              <a:rPr kumimoji="0" lang="en-US" sz="1121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ction implementation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E24E7D79-9691-49B7-AF9E-E6E0F950AB73}"/>
              </a:ext>
            </a:extLst>
          </p:cNvPr>
          <p:cNvSpPr txBox="1">
            <a:spLocks/>
          </p:cNvSpPr>
          <p:nvPr>
            <p:custDataLst>
              <p:tags r:id="rId3"/>
            </p:custDataLst>
          </p:nvPr>
        </p:nvSpPr>
        <p:spPr bwMode="gray">
          <a:xfrm>
            <a:off x="166509" y="3599029"/>
            <a:ext cx="1295722" cy="795421"/>
          </a:xfrm>
          <a:prstGeom prst="rect">
            <a:avLst/>
          </a:prstGeom>
          <a:solidFill>
            <a:schemeClr val="tx2"/>
          </a:solidFill>
          <a:ln w="12700">
            <a:solidFill>
              <a:schemeClr val="bg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77740" tIns="77740" rIns="77740" bIns="77740" numCol="1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lvl="0" indent="0" defTabSz="895350" eaLnBrk="1" hangingPunct="1">
              <a:buClr>
                <a:srgbClr val="002960"/>
              </a:buClr>
              <a:buSzTx/>
              <a:buFontTx/>
              <a:buNone/>
              <a:defRPr sz="1100" b="1"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0" marR="0" lvl="0" indent="0" algn="l" defTabSz="91333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2960"/>
              </a:buClr>
              <a:buSzTx/>
              <a:buFontTx/>
              <a:buNone/>
              <a:tabLst/>
              <a:defRPr/>
            </a:pPr>
            <a:r>
              <a:rPr kumimoji="0" lang="en-US" sz="1122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ctions validated and put into action tracker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8E2ECE0C-9623-442B-9E43-DF7851A83FC4}"/>
              </a:ext>
            </a:extLst>
          </p:cNvPr>
          <p:cNvSpPr/>
          <p:nvPr>
            <p:custDataLst>
              <p:tags r:id="rId4"/>
            </p:custDataLst>
          </p:nvPr>
        </p:nvSpPr>
        <p:spPr bwMode="auto">
          <a:xfrm>
            <a:off x="1543446" y="1739102"/>
            <a:ext cx="1352409" cy="4100327"/>
          </a:xfrm>
          <a:prstGeom prst="rect">
            <a:avLst/>
          </a:prstGeom>
          <a:solidFill>
            <a:srgbClr val="D3CAB9"/>
          </a:solidFill>
          <a:ln w="9525" cap="flat" cmpd="sng" algn="ctr">
            <a:solidFill>
              <a:srgbClr val="D3CAB9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93276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3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61EDF05D-21A4-4501-9D23-CBC62546A4B0}"/>
              </a:ext>
            </a:extLst>
          </p:cNvPr>
          <p:cNvSpPr/>
          <p:nvPr>
            <p:custDataLst>
              <p:tags r:id="rId5"/>
            </p:custDataLst>
          </p:nvPr>
        </p:nvSpPr>
        <p:spPr bwMode="auto">
          <a:xfrm>
            <a:off x="4285271" y="1739102"/>
            <a:ext cx="1397757" cy="4083079"/>
          </a:xfrm>
          <a:prstGeom prst="rect">
            <a:avLst/>
          </a:prstGeom>
          <a:solidFill>
            <a:srgbClr val="D3CAB9"/>
          </a:solidFill>
          <a:ln w="952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3276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3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45C561F5-96F0-41D5-8A39-BBF922CD33CB}"/>
              </a:ext>
            </a:extLst>
          </p:cNvPr>
          <p:cNvSpPr/>
          <p:nvPr>
            <p:custDataLst>
              <p:tags r:id="rId6"/>
            </p:custDataLst>
          </p:nvPr>
        </p:nvSpPr>
        <p:spPr bwMode="auto">
          <a:xfrm>
            <a:off x="7092847" y="1739103"/>
            <a:ext cx="433230" cy="4083075"/>
          </a:xfrm>
          <a:prstGeom prst="rect">
            <a:avLst/>
          </a:prstGeom>
          <a:solidFill>
            <a:srgbClr val="D3CAB9"/>
          </a:solidFill>
          <a:ln w="952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3276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30" b="0" i="0" u="none" strike="noStrike" kern="1200" cap="none" spc="0" normalizeH="0" baseline="0" noProof="0" dirty="0" err="1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DA9D4AA9-BB22-4558-88FB-F9408B3058D2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1543448" y="1488071"/>
            <a:ext cx="468052" cy="2510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32391" rIns="0" bIns="32391" rtlCol="0" anchor="ctr" anchorCtr="0">
            <a:noAutofit/>
          </a:bodyPr>
          <a:lstStyle>
            <a:lvl1pPr marL="0" indent="0" algn="l" defTabSz="895350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Tx/>
              <a:buNone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6125" indent="-130175" algn="l" defTabSz="895350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12033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5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7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9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l" defTabSz="913332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2960"/>
              </a:buClr>
              <a:buSzTx/>
              <a:buFontTx/>
              <a:buNone/>
              <a:tabLst/>
              <a:defRPr/>
            </a:pPr>
            <a:fld id="{DC7463FA-BCDC-401D-9F22-6476A211E03D}" type="datetime'''J''''''''''''a''''''''''''''''''''''''''''''''n'''''''''''">
              <a:rPr kumimoji="0" lang="en-US" sz="1224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pPr marL="0" marR="0" lvl="0" indent="0" algn="l" defTabSz="913332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  <a:buSzTx/>
                <a:buFontTx/>
                <a:buNone/>
                <a:tabLst/>
                <a:defRPr/>
              </a:pPr>
              <a:t>Jan</a:t>
            </a:fld>
            <a:endParaRPr kumimoji="0" lang="en-US" sz="1224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02458E96-76C7-462C-ACF5-B8180B52D28B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1974294" y="1488071"/>
            <a:ext cx="422704" cy="2510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32391" rIns="0" bIns="32391" rtlCol="0" anchor="ctr" anchorCtr="0">
            <a:noAutofit/>
          </a:bodyPr>
          <a:lstStyle>
            <a:lvl1pPr marL="0" indent="0" algn="l" defTabSz="895350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Tx/>
              <a:buNone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6125" indent="-130175" algn="l" defTabSz="895350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12033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5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7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9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l" defTabSz="913332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2960"/>
              </a:buClr>
              <a:buSzTx/>
              <a:buFontTx/>
              <a:buNone/>
              <a:tabLst/>
              <a:defRPr/>
            </a:pPr>
            <a:fld id="{90B39251-8CEF-4FB2-BF78-9CE20EA389FA}" type="datetime'F''''''''e''''''''''''''''''''''b'''''''''''''''''''''''''">
              <a:rPr kumimoji="0" lang="en-US" sz="1224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pPr marL="0" marR="0" lvl="0" indent="0" algn="l" defTabSz="913332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  <a:buSzTx/>
                <a:buFontTx/>
                <a:buNone/>
                <a:tabLst/>
                <a:defRPr/>
              </a:pPr>
              <a:t>Feb</a:t>
            </a:fld>
            <a:endParaRPr kumimoji="0" lang="en-US" sz="1224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759A2B8D-95EB-466A-A26B-479036F2A23A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2434201" y="1488071"/>
            <a:ext cx="469670" cy="2510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32391" rIns="0" bIns="32391" rtlCol="0" anchor="ctr" anchorCtr="0">
            <a:noAutofit/>
          </a:bodyPr>
          <a:lstStyle>
            <a:lvl1pPr marL="0" indent="0" algn="l" defTabSz="895350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Tx/>
              <a:buNone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6125" indent="-130175" algn="l" defTabSz="895350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12033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5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7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9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l" defTabSz="913332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2960"/>
              </a:buClr>
              <a:buSzTx/>
              <a:buFontTx/>
              <a:buNone/>
              <a:tabLst/>
              <a:defRPr/>
            </a:pPr>
            <a:fld id="{9D77D0CC-F188-413F-96B0-14FDA7D134B2}" type="datetime'''''''''''''''''''''''''M''''''a''''r'''''">
              <a:rPr kumimoji="0" lang="en-US" sz="1224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pPr marL="0" marR="0" lvl="0" indent="0" algn="l" defTabSz="913332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  <a:buSzTx/>
                <a:buFontTx/>
                <a:buNone/>
                <a:tabLst/>
                <a:defRPr/>
              </a:pPr>
              <a:t>Mar</a:t>
            </a:fld>
            <a:endParaRPr kumimoji="0" lang="en-US" sz="1224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557A55E7-C398-4848-8D25-2D62127F7228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2903874" y="1488071"/>
            <a:ext cx="451856" cy="2510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32391" rIns="0" bIns="32391" rtlCol="0" anchor="ctr" anchorCtr="0">
            <a:noAutofit/>
          </a:bodyPr>
          <a:lstStyle>
            <a:lvl1pPr marL="0" indent="0" algn="l" defTabSz="895350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Tx/>
              <a:buNone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6125" indent="-130175" algn="l" defTabSz="895350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12033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5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7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9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l" defTabSz="913332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2960"/>
              </a:buClr>
              <a:buSzTx/>
              <a:buFontTx/>
              <a:buNone/>
              <a:tabLst/>
              <a:defRPr/>
            </a:pPr>
            <a:fld id="{B0648E5D-41E0-4154-850A-C2DED9E63AB4}" type="datetime'''''''''''''''''''''''A''''p''''''''''''''''''''''r'''''''''">
              <a:rPr kumimoji="0" lang="en-US" sz="1224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pPr marL="0" marR="0" lvl="0" indent="0" algn="l" defTabSz="913332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  <a:buSzTx/>
                <a:buFontTx/>
                <a:buNone/>
                <a:tabLst/>
                <a:defRPr/>
              </a:pPr>
              <a:t>Apr</a:t>
            </a:fld>
            <a:endParaRPr kumimoji="0" lang="en-US" sz="1224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5A199419-4706-4773-A920-83611DDB705A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3355728" y="1488071"/>
            <a:ext cx="469670" cy="2510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32391" rIns="0" bIns="32391" rtlCol="0" anchor="ctr" anchorCtr="0">
            <a:noAutofit/>
          </a:bodyPr>
          <a:lstStyle>
            <a:lvl1pPr marL="0" indent="0" algn="l" defTabSz="895350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Tx/>
              <a:buNone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6125" indent="-130175" algn="l" defTabSz="895350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12033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5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7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9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l" defTabSz="913332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2960"/>
              </a:buClr>
              <a:buSzTx/>
              <a:buFontTx/>
              <a:buNone/>
              <a:tabLst/>
              <a:defRPr/>
            </a:pPr>
            <a:fld id="{03451EE5-8DE6-409E-9DF2-0DEF8C608324}" type="datetime'''''''''''''''''''''''''M''''''''a''''''''''''''y'''''''''">
              <a:rPr kumimoji="0" lang="en-US" sz="1224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pPr marL="0" marR="0" lvl="0" indent="0" algn="l" defTabSz="913332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  <a:buSzTx/>
                <a:buFontTx/>
                <a:buNone/>
                <a:tabLst/>
                <a:defRPr/>
              </a:pPr>
              <a:t>May</a:t>
            </a:fld>
            <a:endParaRPr kumimoji="0" lang="en-US" sz="1224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C8D759C8-8B13-47D3-88E1-E4A5E28A739A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3825400" y="1488071"/>
            <a:ext cx="451856" cy="2510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32391" rIns="0" bIns="32391" rtlCol="0" anchor="ctr" anchorCtr="0">
            <a:noAutofit/>
          </a:bodyPr>
          <a:lstStyle>
            <a:lvl1pPr marL="0" indent="0" algn="l" defTabSz="895350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Tx/>
              <a:buNone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6125" indent="-130175" algn="l" defTabSz="895350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12033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5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7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9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l" defTabSz="913332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2960"/>
              </a:buClr>
              <a:buSzTx/>
              <a:buFontTx/>
              <a:buNone/>
              <a:tabLst/>
              <a:defRPr/>
            </a:pPr>
            <a:fld id="{DC185470-4510-4CE0-9DCF-FE3260112230}" type="datetime'''''''''''''''J''''''u''''''''''''''n'''''">
              <a:rPr kumimoji="0" lang="en-US" sz="1224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pPr marL="0" marR="0" lvl="0" indent="0" algn="l" defTabSz="913332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  <a:buSzTx/>
                <a:buFontTx/>
                <a:buNone/>
                <a:tabLst/>
                <a:defRPr/>
              </a:pPr>
              <a:t>Jun</a:t>
            </a:fld>
            <a:endParaRPr kumimoji="0" lang="en-US" sz="1224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88150FC6-8D74-4BA5-A97C-8B280AD31B6F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4277255" y="1488071"/>
            <a:ext cx="469670" cy="2510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32391" rIns="0" bIns="32391" rtlCol="0" anchor="ctr" anchorCtr="0">
            <a:noAutofit/>
          </a:bodyPr>
          <a:lstStyle>
            <a:lvl1pPr marL="0" indent="0" algn="l" defTabSz="895350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Tx/>
              <a:buNone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6125" indent="-130175" algn="l" defTabSz="895350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12033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5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7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9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l" defTabSz="913332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2960"/>
              </a:buClr>
              <a:buSzTx/>
              <a:buFontTx/>
              <a:buNone/>
              <a:tabLst/>
              <a:defRPr/>
            </a:pPr>
            <a:fld id="{DDAF377C-3D25-4702-9A02-5EAD25CD67B2}" type="datetime'''''''''''''''''''''''''J''''u''l'''''">
              <a:rPr kumimoji="0" lang="en-US" sz="1224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pPr marL="0" marR="0" lvl="0" indent="0" algn="l" defTabSz="913332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  <a:buSzTx/>
                <a:buFontTx/>
                <a:buNone/>
                <a:tabLst/>
                <a:defRPr/>
              </a:pPr>
              <a:t>Jul</a:t>
            </a:fld>
            <a:endParaRPr kumimoji="0" lang="en-US" sz="1224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9" name="Text Placeholder 3">
            <a:extLst>
              <a:ext uri="{FF2B5EF4-FFF2-40B4-BE49-F238E27FC236}">
                <a16:creationId xmlns:a16="http://schemas.microsoft.com/office/drawing/2014/main" id="{2415D3C1-B639-4BA4-BE07-A280027E6520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4746927" y="1488071"/>
            <a:ext cx="468052" cy="2510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32391" rIns="0" bIns="32391" rtlCol="0" anchor="ctr" anchorCtr="0">
            <a:noAutofit/>
          </a:bodyPr>
          <a:lstStyle>
            <a:lvl1pPr marL="0" indent="0" algn="l" defTabSz="895350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Tx/>
              <a:buNone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6125" indent="-130175" algn="l" defTabSz="895350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12033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5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7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9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l" defTabSz="913332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2960"/>
              </a:buClr>
              <a:buSzTx/>
              <a:buFontTx/>
              <a:buNone/>
              <a:tabLst/>
              <a:defRPr/>
            </a:pPr>
            <a:fld id="{AE27871E-08B9-42CC-B625-4B0DE65859F2}" type="datetime'''''''''''''A''''''''''''u''''''''''''''''g'''''''''''''''">
              <a:rPr kumimoji="0" lang="en-US" sz="1224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pPr marL="0" marR="0" lvl="0" indent="0" algn="l" defTabSz="913332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  <a:buSzTx/>
                <a:buFontTx/>
                <a:buNone/>
                <a:tabLst/>
                <a:defRPr/>
              </a:pPr>
              <a:t>Aug</a:t>
            </a:fld>
            <a:endParaRPr kumimoji="0" lang="en-US" sz="1224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E835D453-D142-4094-853E-D2AD3952540B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auto">
          <a:xfrm>
            <a:off x="5214976" y="1488071"/>
            <a:ext cx="453476" cy="2510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32391" rIns="0" bIns="32391" rtlCol="0" anchor="ctr" anchorCtr="0">
            <a:noAutofit/>
          </a:bodyPr>
          <a:lstStyle>
            <a:lvl1pPr marL="0" indent="0" algn="l" defTabSz="895350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Tx/>
              <a:buNone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6125" indent="-130175" algn="l" defTabSz="895350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12033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5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7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9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l" defTabSz="913332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2960"/>
              </a:buClr>
              <a:buSzTx/>
              <a:buFontTx/>
              <a:buNone/>
              <a:tabLst/>
              <a:defRPr/>
            </a:pPr>
            <a:fld id="{F5802B5C-1454-490F-9810-90CD7292F92C}" type="datetime'''''''''''''''''''''''''''''''''S''''''''''''''e''p'''''''''''">
              <a:rPr kumimoji="0" lang="en-US" sz="1224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pPr marL="0" marR="0" lvl="0" indent="0" algn="l" defTabSz="913332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  <a:buSzTx/>
                <a:buFontTx/>
                <a:buNone/>
                <a:tabLst/>
                <a:defRPr/>
              </a:pPr>
              <a:t>Sep</a:t>
            </a:fld>
            <a:endParaRPr kumimoji="0" lang="en-US" sz="1224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1" name="Text Placeholder 3">
            <a:extLst>
              <a:ext uri="{FF2B5EF4-FFF2-40B4-BE49-F238E27FC236}">
                <a16:creationId xmlns:a16="http://schemas.microsoft.com/office/drawing/2014/main" id="{888A7124-254F-4DC5-BEF0-666638D9DE27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auto">
          <a:xfrm>
            <a:off x="5668452" y="1488071"/>
            <a:ext cx="468052" cy="2510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32391" rIns="0" bIns="32391" rtlCol="0" anchor="ctr" anchorCtr="0">
            <a:noAutofit/>
          </a:bodyPr>
          <a:lstStyle>
            <a:lvl1pPr marL="0" indent="0" algn="l" defTabSz="895350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Tx/>
              <a:buNone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6125" indent="-130175" algn="l" defTabSz="895350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12033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5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7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9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l" defTabSz="913332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2960"/>
              </a:buClr>
              <a:buSzTx/>
              <a:buFontTx/>
              <a:buNone/>
              <a:tabLst/>
              <a:defRPr/>
            </a:pPr>
            <a:fld id="{25C742EF-826F-45DF-9151-1A63B9B777C6}" type="datetime'''''''''''''''''''''''''O''''''c''''''''''''t'">
              <a:rPr kumimoji="0" lang="en-US" sz="1224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pPr marL="0" marR="0" lvl="0" indent="0" algn="l" defTabSz="913332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  <a:buSzTx/>
                <a:buFontTx/>
                <a:buNone/>
                <a:tabLst/>
                <a:defRPr/>
              </a:pPr>
              <a:t>Oct</a:t>
            </a:fld>
            <a:endParaRPr kumimoji="0" lang="en-US" sz="1224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2" name="Text Placeholder 3">
            <a:extLst>
              <a:ext uri="{FF2B5EF4-FFF2-40B4-BE49-F238E27FC236}">
                <a16:creationId xmlns:a16="http://schemas.microsoft.com/office/drawing/2014/main" id="{5C57B53B-7336-4468-8A69-73BE507DDCEA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auto">
          <a:xfrm>
            <a:off x="6136502" y="1488071"/>
            <a:ext cx="453476" cy="2510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32391" rIns="0" bIns="32391" rtlCol="0" anchor="ctr" anchorCtr="0">
            <a:noAutofit/>
          </a:bodyPr>
          <a:lstStyle>
            <a:lvl1pPr marL="0" indent="0" algn="l" defTabSz="895350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Tx/>
              <a:buNone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6125" indent="-130175" algn="l" defTabSz="895350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12033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5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7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9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l" defTabSz="913332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2960"/>
              </a:buClr>
              <a:buSzTx/>
              <a:buFontTx/>
              <a:buNone/>
              <a:tabLst/>
              <a:defRPr/>
            </a:pPr>
            <a:fld id="{4E9BA5DF-3902-4048-A5B2-7F1CDD8186F1}" type="datetime'''''''''''''''''''N''''''o''''''''''''v'''''''''''''''''">
              <a:rPr kumimoji="0" lang="en-US" sz="1224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pPr marL="0" marR="0" lvl="0" indent="0" algn="l" defTabSz="913332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  <a:buSzTx/>
                <a:buFontTx/>
                <a:buNone/>
                <a:tabLst/>
                <a:defRPr/>
              </a:pPr>
              <a:t>Nov</a:t>
            </a:fld>
            <a:endParaRPr kumimoji="0" lang="en-US" sz="1224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3" name="Text Placeholder 3">
            <a:extLst>
              <a:ext uri="{FF2B5EF4-FFF2-40B4-BE49-F238E27FC236}">
                <a16:creationId xmlns:a16="http://schemas.microsoft.com/office/drawing/2014/main" id="{01FF542B-C186-456F-8654-8F2DE8E0EAC6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auto">
          <a:xfrm>
            <a:off x="6589978" y="1488071"/>
            <a:ext cx="468052" cy="2510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32391" rIns="0" bIns="32391" rtlCol="0" anchor="ctr" anchorCtr="0">
            <a:noAutofit/>
          </a:bodyPr>
          <a:lstStyle>
            <a:lvl1pPr marL="0" indent="0" algn="l" defTabSz="895350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Tx/>
              <a:buNone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6125" indent="-130175" algn="l" defTabSz="895350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12033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5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7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9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l" defTabSz="913332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2960"/>
              </a:buClr>
              <a:buSzTx/>
              <a:buFontTx/>
              <a:buNone/>
              <a:tabLst/>
              <a:defRPr/>
            </a:pPr>
            <a:fld id="{FD122A17-4AB0-4CB4-B1BD-CEF8F5896C77}" type="datetime'D''''''''''''''''''''''''''''''''e''c'''''''">
              <a:rPr kumimoji="0" lang="en-US" sz="1224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pPr marL="0" marR="0" lvl="0" indent="0" algn="l" defTabSz="913332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  <a:buSzTx/>
                <a:buFontTx/>
                <a:buNone/>
                <a:tabLst/>
                <a:defRPr/>
              </a:pPr>
              <a:t>Dec</a:t>
            </a:fld>
            <a:endParaRPr kumimoji="0" lang="en-US" sz="1224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4" name="Text Placeholder 3">
            <a:extLst>
              <a:ext uri="{FF2B5EF4-FFF2-40B4-BE49-F238E27FC236}">
                <a16:creationId xmlns:a16="http://schemas.microsoft.com/office/drawing/2014/main" id="{18AE3360-51F0-4D0C-BEB9-5A3EEA4614AE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auto">
          <a:xfrm>
            <a:off x="7058027" y="1488071"/>
            <a:ext cx="468052" cy="2510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32391" rIns="0" bIns="32391" rtlCol="0" anchor="ctr" anchorCtr="0">
            <a:noAutofit/>
          </a:bodyPr>
          <a:lstStyle>
            <a:lvl1pPr marL="0" indent="0" algn="l" defTabSz="895350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Tx/>
              <a:buNone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6125" indent="-130175" algn="l" defTabSz="895350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12033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5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7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9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l" defTabSz="913332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2960"/>
              </a:buClr>
              <a:buSzTx/>
              <a:buFontTx/>
              <a:buNone/>
              <a:tabLst/>
              <a:defRPr/>
            </a:pPr>
            <a:fld id="{0623BC16-29CD-49EE-BF1D-047E297F28CE}" type="datetime'''''''''''''''''''''''''''''''J''a''''n'''''''">
              <a:rPr kumimoji="0" lang="en-US" sz="1224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pPr marL="0" marR="0" lvl="0" indent="0" algn="l" defTabSz="913332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  <a:buSzTx/>
                <a:buFontTx/>
                <a:buNone/>
                <a:tabLst/>
                <a:defRPr/>
              </a:pPr>
              <a:t>Jan</a:t>
            </a:fld>
            <a:endParaRPr kumimoji="0" lang="en-US" sz="1224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080D5829-2494-49F0-95D3-5A2858BADCF0}"/>
              </a:ext>
            </a:extLst>
          </p:cNvPr>
          <p:cNvCxnSpPr>
            <a:cxnSpLocks/>
          </p:cNvCxnSpPr>
          <p:nvPr>
            <p:custDataLst>
              <p:tags r:id="rId20"/>
            </p:custDataLst>
          </p:nvPr>
        </p:nvCxnSpPr>
        <p:spPr bwMode="auto">
          <a:xfrm>
            <a:off x="1543445" y="1739102"/>
            <a:ext cx="9718" cy="4083076"/>
          </a:xfrm>
          <a:prstGeom prst="line">
            <a:avLst/>
          </a:pr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5CF2102A-D6C0-4B5F-AF41-84BF25E989B5}"/>
              </a:ext>
            </a:extLst>
          </p:cNvPr>
          <p:cNvCxnSpPr>
            <a:cxnSpLocks/>
          </p:cNvCxnSpPr>
          <p:nvPr>
            <p:custDataLst>
              <p:tags r:id="rId21"/>
            </p:custDataLst>
          </p:nvPr>
        </p:nvCxnSpPr>
        <p:spPr bwMode="auto">
          <a:xfrm flipH="1">
            <a:off x="7526072" y="1739102"/>
            <a:ext cx="4" cy="4097623"/>
          </a:xfrm>
          <a:prstGeom prst="line">
            <a:avLst/>
          </a:pr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2BE255D6-0800-45D3-8512-77EBCAA8515C}"/>
              </a:ext>
            </a:extLst>
          </p:cNvPr>
          <p:cNvCxnSpPr/>
          <p:nvPr>
            <p:custDataLst>
              <p:tags r:id="rId22"/>
            </p:custDataLst>
          </p:nvPr>
        </p:nvCxnSpPr>
        <p:spPr bwMode="auto">
          <a:xfrm>
            <a:off x="1543447" y="5839430"/>
            <a:ext cx="5982632" cy="0"/>
          </a:xfrm>
          <a:prstGeom prst="line">
            <a:avLst/>
          </a:prstGeom>
          <a:ln w="19050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A437CE0B-F40E-46F0-89ED-A168554027CF}"/>
              </a:ext>
            </a:extLst>
          </p:cNvPr>
          <p:cNvCxnSpPr>
            <a:cxnSpLocks/>
          </p:cNvCxnSpPr>
          <p:nvPr>
            <p:custDataLst>
              <p:tags r:id="rId23"/>
            </p:custDataLst>
          </p:nvPr>
        </p:nvCxnSpPr>
        <p:spPr bwMode="gray">
          <a:xfrm flipH="1">
            <a:off x="4746925" y="1739103"/>
            <a:ext cx="13764" cy="4025196"/>
          </a:xfrm>
          <a:prstGeom prst="line">
            <a:avLst/>
          </a:prstGeom>
          <a:ln w="19050">
            <a:solidFill>
              <a:schemeClr val="tx2"/>
            </a:solidFill>
            <a:prstDash val="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1B9EE54B-699E-450F-B98E-87AFAFB5E49F}"/>
              </a:ext>
            </a:extLst>
          </p:cNvPr>
          <p:cNvCxnSpPr>
            <a:cxnSpLocks/>
          </p:cNvCxnSpPr>
          <p:nvPr>
            <p:custDataLst>
              <p:tags r:id="rId24"/>
            </p:custDataLst>
          </p:nvPr>
        </p:nvCxnSpPr>
        <p:spPr bwMode="gray">
          <a:xfrm>
            <a:off x="1974294" y="1739103"/>
            <a:ext cx="10991" cy="4083075"/>
          </a:xfrm>
          <a:prstGeom prst="line">
            <a:avLst/>
          </a:prstGeom>
          <a:ln w="19050">
            <a:solidFill>
              <a:schemeClr val="tx2"/>
            </a:solidFill>
            <a:prstDash val="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E6D87E39-C422-4BA9-9703-D41E76397DAB}"/>
              </a:ext>
            </a:extLst>
          </p:cNvPr>
          <p:cNvCxnSpPr>
            <a:cxnSpLocks/>
          </p:cNvCxnSpPr>
          <p:nvPr>
            <p:custDataLst>
              <p:tags r:id="rId25"/>
            </p:custDataLst>
          </p:nvPr>
        </p:nvCxnSpPr>
        <p:spPr bwMode="gray">
          <a:xfrm flipH="1">
            <a:off x="6148981" y="1739103"/>
            <a:ext cx="13428" cy="4083075"/>
          </a:xfrm>
          <a:prstGeom prst="line">
            <a:avLst/>
          </a:prstGeom>
          <a:ln w="19050">
            <a:solidFill>
              <a:schemeClr val="tx2"/>
            </a:solidFill>
            <a:prstDash val="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C6E30204-6710-410E-A6C9-DAE7057D08FE}"/>
              </a:ext>
            </a:extLst>
          </p:cNvPr>
          <p:cNvCxnSpPr>
            <a:cxnSpLocks/>
          </p:cNvCxnSpPr>
          <p:nvPr>
            <p:custDataLst>
              <p:tags r:id="rId26"/>
            </p:custDataLst>
          </p:nvPr>
        </p:nvCxnSpPr>
        <p:spPr bwMode="gray">
          <a:xfrm>
            <a:off x="3367777" y="1736147"/>
            <a:ext cx="0" cy="4086031"/>
          </a:xfrm>
          <a:prstGeom prst="line">
            <a:avLst/>
          </a:prstGeom>
          <a:ln w="19050">
            <a:solidFill>
              <a:schemeClr val="tx2"/>
            </a:solidFill>
            <a:prstDash val="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99452DD7-6225-4463-8BFF-A0896DBF9995}"/>
              </a:ext>
            </a:extLst>
          </p:cNvPr>
          <p:cNvCxnSpPr/>
          <p:nvPr>
            <p:custDataLst>
              <p:tags r:id="rId27"/>
            </p:custDataLst>
          </p:nvPr>
        </p:nvCxnSpPr>
        <p:spPr bwMode="auto">
          <a:xfrm>
            <a:off x="1543447" y="1739102"/>
            <a:ext cx="5982632" cy="0"/>
          </a:xfrm>
          <a:prstGeom prst="line">
            <a:avLst/>
          </a:prstGeom>
          <a:ln w="19050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Text Placeholder 19">
            <a:extLst>
              <a:ext uri="{FF2B5EF4-FFF2-40B4-BE49-F238E27FC236}">
                <a16:creationId xmlns:a16="http://schemas.microsoft.com/office/drawing/2014/main" id="{CEAC83AC-B586-4454-A99C-C845EB24A35F}"/>
              </a:ext>
            </a:extLst>
          </p:cNvPr>
          <p:cNvSpPr>
            <a:spLocks noGrp="1"/>
          </p:cNvSpPr>
          <p:nvPr>
            <p:custDataLst>
              <p:tags r:id="rId28"/>
            </p:custDataLst>
          </p:nvPr>
        </p:nvSpPr>
        <p:spPr bwMode="gray">
          <a:xfrm>
            <a:off x="4760629" y="4705714"/>
            <a:ext cx="1199994" cy="267226"/>
          </a:xfrm>
          <a:prstGeom prst="homePlate">
            <a:avLst>
              <a:gd name="adj" fmla="val 18788"/>
            </a:avLst>
          </a:prstGeom>
          <a:solidFill>
            <a:srgbClr val="80C535"/>
          </a:solidFill>
          <a:ln w="9525">
            <a:solidFill>
              <a:srgbClr val="808080"/>
            </a:solidFill>
          </a:ln>
        </p:spPr>
        <p:txBody>
          <a:bodyPr vert="horz" wrap="square" lIns="92316" tIns="46967" rIns="0" bIns="46967" numCol="1" spcCol="0" rtlCol="0" anchor="ctr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l" defTabSz="91333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39302A"/>
              </a:buClr>
              <a:buSzTx/>
              <a:buFontTx/>
              <a:buNone/>
              <a:tabLst/>
              <a:defRPr/>
            </a:pPr>
            <a:endParaRPr kumimoji="0" lang="en-US" sz="1224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4" name="Text Placeholder 18">
            <a:extLst>
              <a:ext uri="{FF2B5EF4-FFF2-40B4-BE49-F238E27FC236}">
                <a16:creationId xmlns:a16="http://schemas.microsoft.com/office/drawing/2014/main" id="{7AF4965A-AF12-49EE-A8C2-25C0ECC94325}"/>
              </a:ext>
            </a:extLst>
          </p:cNvPr>
          <p:cNvSpPr>
            <a:spLocks noGrp="1"/>
          </p:cNvSpPr>
          <p:nvPr>
            <p:custDataLst>
              <p:tags r:id="rId29"/>
            </p:custDataLst>
          </p:nvPr>
        </p:nvSpPr>
        <p:spPr bwMode="gray">
          <a:xfrm>
            <a:off x="3361240" y="4705714"/>
            <a:ext cx="1224382" cy="267226"/>
          </a:xfrm>
          <a:prstGeom prst="homePlate">
            <a:avLst>
              <a:gd name="adj" fmla="val 18788"/>
            </a:avLst>
          </a:prstGeom>
          <a:solidFill>
            <a:srgbClr val="80C535"/>
          </a:solidFill>
          <a:ln w="9525">
            <a:solidFill>
              <a:srgbClr val="808080"/>
            </a:solidFill>
          </a:ln>
        </p:spPr>
        <p:txBody>
          <a:bodyPr vert="horz" wrap="square" lIns="92316" tIns="46967" rIns="0" bIns="46967" numCol="1" spcCol="0" rtlCol="0" anchor="ctr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l" defTabSz="91333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39302A"/>
              </a:buClr>
              <a:buSzTx/>
              <a:buFontTx/>
              <a:buNone/>
              <a:tabLst/>
              <a:defRPr/>
            </a:pPr>
            <a:endParaRPr kumimoji="0" lang="en-US" sz="1224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5" name="Text Placeholder 20">
            <a:extLst>
              <a:ext uri="{FF2B5EF4-FFF2-40B4-BE49-F238E27FC236}">
                <a16:creationId xmlns:a16="http://schemas.microsoft.com/office/drawing/2014/main" id="{89A48FCE-AF2E-43CA-BDBC-B0787375D301}"/>
              </a:ext>
            </a:extLst>
          </p:cNvPr>
          <p:cNvSpPr>
            <a:spLocks noGrp="1"/>
          </p:cNvSpPr>
          <p:nvPr>
            <p:custDataLst>
              <p:tags r:id="rId30"/>
            </p:custDataLst>
          </p:nvPr>
        </p:nvSpPr>
        <p:spPr bwMode="gray">
          <a:xfrm>
            <a:off x="6176735" y="4705714"/>
            <a:ext cx="1264159" cy="267226"/>
          </a:xfrm>
          <a:prstGeom prst="homePlate">
            <a:avLst>
              <a:gd name="adj" fmla="val 18788"/>
            </a:avLst>
          </a:prstGeom>
          <a:solidFill>
            <a:srgbClr val="80C535"/>
          </a:solidFill>
          <a:ln w="9525">
            <a:solidFill>
              <a:srgbClr val="808080"/>
            </a:solidFill>
          </a:ln>
        </p:spPr>
        <p:txBody>
          <a:bodyPr vert="horz" wrap="square" lIns="92316" tIns="46967" rIns="0" bIns="46967" numCol="1" spcCol="0" rtlCol="0" anchor="ctr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l" defTabSz="91333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39302A"/>
              </a:buClr>
              <a:buSzTx/>
              <a:buFontTx/>
              <a:buNone/>
              <a:tabLst/>
              <a:defRPr/>
            </a:pPr>
            <a:endParaRPr kumimoji="0" lang="en-US" sz="1224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D2572E99-8DD1-404D-A86D-51C499C27A8E}"/>
              </a:ext>
            </a:extLst>
          </p:cNvPr>
          <p:cNvSpPr>
            <a:spLocks noGrp="1"/>
          </p:cNvSpPr>
          <p:nvPr>
            <p:custDataLst>
              <p:tags r:id="rId31"/>
            </p:custDataLst>
          </p:nvPr>
        </p:nvSpPr>
        <p:spPr bwMode="auto">
          <a:xfrm>
            <a:off x="2279144" y="3866462"/>
            <a:ext cx="1096139" cy="267225"/>
          </a:xfrm>
          <a:prstGeom prst="homePlate">
            <a:avLst>
              <a:gd name="adj" fmla="val 18788"/>
            </a:avLst>
          </a:prstGeom>
          <a:solidFill>
            <a:schemeClr val="bg2"/>
          </a:solidFill>
          <a:ln w="9525">
            <a:solidFill>
              <a:schemeClr val="tx1"/>
            </a:solidFill>
          </a:ln>
        </p:spPr>
        <p:txBody>
          <a:bodyPr vert="horz" wrap="square" lIns="92316" tIns="46967" rIns="0" bIns="46967" numCol="1" spcCol="0" rtlCol="0" anchor="ctr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l" defTabSz="91333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39302A"/>
              </a:buClr>
              <a:buSzTx/>
              <a:buFontTx/>
              <a:buNone/>
              <a:tabLst/>
              <a:defRPr/>
            </a:pPr>
            <a:endParaRPr kumimoji="0" lang="en-US" sz="1224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7" name="Text Placeholder 34">
            <a:extLst>
              <a:ext uri="{FF2B5EF4-FFF2-40B4-BE49-F238E27FC236}">
                <a16:creationId xmlns:a16="http://schemas.microsoft.com/office/drawing/2014/main" id="{E28AADB2-F245-4861-812B-2FE43AEF300E}"/>
              </a:ext>
            </a:extLst>
          </p:cNvPr>
          <p:cNvSpPr>
            <a:spLocks noGrp="1"/>
          </p:cNvSpPr>
          <p:nvPr>
            <p:custDataLst>
              <p:tags r:id="rId32"/>
            </p:custDataLst>
          </p:nvPr>
        </p:nvSpPr>
        <p:spPr bwMode="auto">
          <a:xfrm>
            <a:off x="1553163" y="3860087"/>
            <a:ext cx="106327" cy="267226"/>
          </a:xfrm>
          <a:prstGeom prst="homePlate">
            <a:avLst>
              <a:gd name="adj" fmla="val 18788"/>
            </a:avLst>
          </a:prstGeom>
          <a:solidFill>
            <a:schemeClr val="bg1"/>
          </a:solidFill>
          <a:ln w="9525">
            <a:solidFill>
              <a:schemeClr val="tx1"/>
            </a:solidFill>
          </a:ln>
        </p:spPr>
        <p:txBody>
          <a:bodyPr vert="horz" wrap="square" lIns="92316" tIns="46967" rIns="0" bIns="46967" numCol="1" spcCol="0" rtlCol="0" anchor="ctr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l" defTabSz="91333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39302A"/>
              </a:buClr>
              <a:buSzTx/>
              <a:buFontTx/>
              <a:buNone/>
              <a:tabLst/>
              <a:defRPr/>
            </a:pPr>
            <a:endParaRPr kumimoji="0" lang="en-US" sz="1224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8" name="Text Placeholder 15">
            <a:extLst>
              <a:ext uri="{FF2B5EF4-FFF2-40B4-BE49-F238E27FC236}">
                <a16:creationId xmlns:a16="http://schemas.microsoft.com/office/drawing/2014/main" id="{C1B8CDCD-184D-4C25-8FC1-618FA779373F}"/>
              </a:ext>
            </a:extLst>
          </p:cNvPr>
          <p:cNvSpPr>
            <a:spLocks noGrp="1"/>
          </p:cNvSpPr>
          <p:nvPr>
            <p:custDataLst>
              <p:tags r:id="rId33"/>
            </p:custDataLst>
          </p:nvPr>
        </p:nvSpPr>
        <p:spPr bwMode="auto">
          <a:xfrm>
            <a:off x="3665617" y="3865328"/>
            <a:ext cx="1095072" cy="268359"/>
          </a:xfrm>
          <a:prstGeom prst="homePlate">
            <a:avLst>
              <a:gd name="adj" fmla="val 18788"/>
            </a:avLst>
          </a:prstGeom>
          <a:solidFill>
            <a:schemeClr val="bg2"/>
          </a:solidFill>
          <a:ln w="9525">
            <a:solidFill>
              <a:schemeClr val="tx1"/>
            </a:solidFill>
          </a:ln>
        </p:spPr>
        <p:txBody>
          <a:bodyPr vert="horz" wrap="square" lIns="92316" tIns="46967" rIns="0" bIns="46967" numCol="1" spcCol="0" rtlCol="0" anchor="ctr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l" defTabSz="91333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39302A"/>
              </a:buClr>
              <a:buSzTx/>
              <a:buFontTx/>
              <a:buNone/>
              <a:tabLst/>
              <a:defRPr/>
            </a:pPr>
            <a:endParaRPr kumimoji="0" lang="en-US" sz="1224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9" name="Text Placeholder 3">
            <a:extLst>
              <a:ext uri="{FF2B5EF4-FFF2-40B4-BE49-F238E27FC236}">
                <a16:creationId xmlns:a16="http://schemas.microsoft.com/office/drawing/2014/main" id="{67A36034-9BA6-4B99-82E8-5CF5EBC95803}"/>
              </a:ext>
            </a:extLst>
          </p:cNvPr>
          <p:cNvSpPr>
            <a:spLocks noGrp="1"/>
          </p:cNvSpPr>
          <p:nvPr>
            <p:custDataLst>
              <p:tags r:id="rId34"/>
            </p:custDataLst>
          </p:nvPr>
        </p:nvSpPr>
        <p:spPr bwMode="gray">
          <a:xfrm>
            <a:off x="1688630" y="4705714"/>
            <a:ext cx="1162839" cy="267226"/>
          </a:xfrm>
          <a:prstGeom prst="homePlate">
            <a:avLst>
              <a:gd name="adj" fmla="val 18788"/>
            </a:avLst>
          </a:prstGeom>
          <a:solidFill>
            <a:srgbClr val="80C535"/>
          </a:solidFill>
          <a:ln w="9525">
            <a:solidFill>
              <a:srgbClr val="808080"/>
            </a:solidFill>
          </a:ln>
        </p:spPr>
        <p:txBody>
          <a:bodyPr vert="horz" wrap="square" lIns="92316" tIns="46967" rIns="0" bIns="46967" numCol="1" spcCol="0" rtlCol="0" anchor="ctr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l" defTabSz="91333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39302A"/>
              </a:buClr>
              <a:buSzTx/>
              <a:buFontTx/>
              <a:buNone/>
              <a:tabLst/>
              <a:defRPr/>
            </a:pPr>
            <a:endParaRPr kumimoji="0" lang="en-US" sz="1224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0" name="Text Placeholder 16">
            <a:extLst>
              <a:ext uri="{FF2B5EF4-FFF2-40B4-BE49-F238E27FC236}">
                <a16:creationId xmlns:a16="http://schemas.microsoft.com/office/drawing/2014/main" id="{7243BDB5-7CDC-4204-B921-3EA06FCE1FBA}"/>
              </a:ext>
            </a:extLst>
          </p:cNvPr>
          <p:cNvSpPr>
            <a:spLocks noGrp="1"/>
          </p:cNvSpPr>
          <p:nvPr>
            <p:custDataLst>
              <p:tags r:id="rId35"/>
            </p:custDataLst>
          </p:nvPr>
        </p:nvSpPr>
        <p:spPr bwMode="auto">
          <a:xfrm>
            <a:off x="5134805" y="3866461"/>
            <a:ext cx="1018795" cy="267226"/>
          </a:xfrm>
          <a:prstGeom prst="homePlate">
            <a:avLst>
              <a:gd name="adj" fmla="val 18788"/>
            </a:avLst>
          </a:prstGeom>
          <a:solidFill>
            <a:schemeClr val="bg2"/>
          </a:solidFill>
          <a:ln w="9525">
            <a:solidFill>
              <a:schemeClr val="tx1"/>
            </a:solidFill>
          </a:ln>
        </p:spPr>
        <p:txBody>
          <a:bodyPr vert="horz" wrap="square" lIns="92316" tIns="46967" rIns="0" bIns="46967" numCol="1" spcCol="0" rtlCol="0" anchor="ctr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l" defTabSz="91333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39302A"/>
              </a:buClr>
              <a:buSzTx/>
              <a:buFontTx/>
              <a:buNone/>
              <a:tabLst/>
              <a:defRPr/>
            </a:pPr>
            <a:endParaRPr kumimoji="0" lang="en-US" sz="1224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1" name="Isosceles Triangle 97">
            <a:extLst>
              <a:ext uri="{FF2B5EF4-FFF2-40B4-BE49-F238E27FC236}">
                <a16:creationId xmlns:a16="http://schemas.microsoft.com/office/drawing/2014/main" id="{FF4E84FD-0352-49DD-BD3D-D130AD02FACC}"/>
              </a:ext>
            </a:extLst>
          </p:cNvPr>
          <p:cNvSpPr/>
          <p:nvPr>
            <p:custDataLst>
              <p:tags r:id="rId36"/>
            </p:custDataLst>
          </p:nvPr>
        </p:nvSpPr>
        <p:spPr bwMode="auto">
          <a:xfrm>
            <a:off x="6080187" y="5948447"/>
            <a:ext cx="152238" cy="131186"/>
          </a:xfrm>
          <a:prstGeom prst="triangle">
            <a:avLst/>
          </a:prstGeom>
          <a:solidFill>
            <a:schemeClr val="tx2"/>
          </a:solidFill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6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3276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30" b="0" i="0" u="none" strike="noStrike" kern="1200" cap="none" spc="0" normalizeH="0" baseline="0" noProof="0" dirty="0" err="1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42" name="Isosceles Triangle 92">
            <a:extLst>
              <a:ext uri="{FF2B5EF4-FFF2-40B4-BE49-F238E27FC236}">
                <a16:creationId xmlns:a16="http://schemas.microsoft.com/office/drawing/2014/main" id="{D25469D6-8A27-46A6-9858-CA9BF16F0D3A}"/>
              </a:ext>
            </a:extLst>
          </p:cNvPr>
          <p:cNvSpPr/>
          <p:nvPr>
            <p:custDataLst>
              <p:tags r:id="rId37"/>
            </p:custDataLst>
          </p:nvPr>
        </p:nvSpPr>
        <p:spPr bwMode="auto">
          <a:xfrm>
            <a:off x="4684466" y="5948447"/>
            <a:ext cx="152238" cy="131186"/>
          </a:xfrm>
          <a:prstGeom prst="triangle">
            <a:avLst/>
          </a:prstGeom>
          <a:solidFill>
            <a:schemeClr val="tx2"/>
          </a:solidFill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6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3276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30" b="0" i="0" u="none" strike="noStrike" kern="1200" cap="none" spc="0" normalizeH="0" baseline="0" noProof="0" dirty="0" err="1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43" name="Isosceles Triangle 9">
            <a:extLst>
              <a:ext uri="{FF2B5EF4-FFF2-40B4-BE49-F238E27FC236}">
                <a16:creationId xmlns:a16="http://schemas.microsoft.com/office/drawing/2014/main" id="{BE1F322B-2AF8-4A86-8E10-31A62C43F18A}"/>
              </a:ext>
            </a:extLst>
          </p:cNvPr>
          <p:cNvSpPr/>
          <p:nvPr>
            <p:custDataLst>
              <p:tags r:id="rId38"/>
            </p:custDataLst>
          </p:nvPr>
        </p:nvSpPr>
        <p:spPr bwMode="auto">
          <a:xfrm>
            <a:off x="3291802" y="5948447"/>
            <a:ext cx="152238" cy="131186"/>
          </a:xfrm>
          <a:prstGeom prst="triangle">
            <a:avLst/>
          </a:prstGeom>
          <a:solidFill>
            <a:schemeClr val="tx2"/>
          </a:solidFill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6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3276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30" b="0" i="0" u="none" strike="noStrike" kern="1200" cap="none" spc="0" normalizeH="0" baseline="0" noProof="0" dirty="0" err="1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44" name="Isosceles Triangle 102">
            <a:extLst>
              <a:ext uri="{FF2B5EF4-FFF2-40B4-BE49-F238E27FC236}">
                <a16:creationId xmlns:a16="http://schemas.microsoft.com/office/drawing/2014/main" id="{A6C4DCF5-B61B-4357-A62F-19EFBE64E14A}"/>
              </a:ext>
            </a:extLst>
          </p:cNvPr>
          <p:cNvSpPr/>
          <p:nvPr>
            <p:custDataLst>
              <p:tags r:id="rId39"/>
            </p:custDataLst>
          </p:nvPr>
        </p:nvSpPr>
        <p:spPr bwMode="auto">
          <a:xfrm>
            <a:off x="1910228" y="5948447"/>
            <a:ext cx="152238" cy="131186"/>
          </a:xfrm>
          <a:prstGeom prst="triangle">
            <a:avLst/>
          </a:prstGeom>
          <a:solidFill>
            <a:schemeClr val="tx2"/>
          </a:solidFill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6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3276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30" b="0" i="0" u="none" strike="noStrike" kern="1200" cap="none" spc="0" normalizeH="0" baseline="0" noProof="0" dirty="0" err="1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45" name="Diamond 44">
            <a:extLst>
              <a:ext uri="{FF2B5EF4-FFF2-40B4-BE49-F238E27FC236}">
                <a16:creationId xmlns:a16="http://schemas.microsoft.com/office/drawing/2014/main" id="{CB3FDF1B-8D48-4CB1-80DE-96D15E48A0F2}"/>
              </a:ext>
            </a:extLst>
          </p:cNvPr>
          <p:cNvSpPr/>
          <p:nvPr>
            <p:custDataLst>
              <p:tags r:id="rId40"/>
            </p:custDataLst>
          </p:nvPr>
        </p:nvSpPr>
        <p:spPr bwMode="auto">
          <a:xfrm>
            <a:off x="3188832" y="2078063"/>
            <a:ext cx="348204" cy="352793"/>
          </a:xfrm>
          <a:prstGeom prst="diamond">
            <a:avLst/>
          </a:prstGeom>
          <a:solidFill>
            <a:schemeClr val="accent1"/>
          </a:solidFill>
          <a:ln w="9525" cap="flat" cmpd="sng" algn="ctr">
            <a:solidFill>
              <a:schemeClr val="tx2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3276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30" b="0" i="0" u="none" strike="noStrike" kern="1200" cap="none" spc="0" normalizeH="0" baseline="0" noProof="0" dirty="0" err="1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46" name="Isosceles Triangle 254">
            <a:extLst>
              <a:ext uri="{FF2B5EF4-FFF2-40B4-BE49-F238E27FC236}">
                <a16:creationId xmlns:a16="http://schemas.microsoft.com/office/drawing/2014/main" id="{CA1CC921-28BD-472C-96F3-7629BD215710}"/>
              </a:ext>
            </a:extLst>
          </p:cNvPr>
          <p:cNvSpPr/>
          <p:nvPr>
            <p:custDataLst>
              <p:tags r:id="rId41"/>
            </p:custDataLst>
          </p:nvPr>
        </p:nvSpPr>
        <p:spPr bwMode="auto">
          <a:xfrm>
            <a:off x="3508968" y="3010301"/>
            <a:ext cx="325533" cy="270033"/>
          </a:xfrm>
          <a:prstGeom prst="triangle">
            <a:avLst/>
          </a:prstGeom>
          <a:solidFill>
            <a:srgbClr val="E8DB34"/>
          </a:solidFill>
          <a:ln w="9525" cap="flat" cmpd="sng" algn="ctr">
            <a:solidFill>
              <a:schemeClr val="tx2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93276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3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47" name="TextBox 5">
            <a:extLst>
              <a:ext uri="{FF2B5EF4-FFF2-40B4-BE49-F238E27FC236}">
                <a16:creationId xmlns:a16="http://schemas.microsoft.com/office/drawing/2014/main" id="{F304F24A-9B28-4E6B-8F67-AB669DC07FCE}"/>
              </a:ext>
            </a:extLst>
          </p:cNvPr>
          <p:cNvSpPr txBox="1">
            <a:spLocks/>
          </p:cNvSpPr>
          <p:nvPr>
            <p:custDataLst>
              <p:tags r:id="rId42"/>
            </p:custDataLst>
          </p:nvPr>
        </p:nvSpPr>
        <p:spPr bwMode="gray">
          <a:xfrm>
            <a:off x="148281" y="1835036"/>
            <a:ext cx="1332178" cy="815713"/>
          </a:xfrm>
          <a:prstGeom prst="rect">
            <a:avLst/>
          </a:prstGeom>
          <a:solidFill>
            <a:schemeClr val="tx2"/>
          </a:solidFill>
          <a:ln w="12700">
            <a:solidFill>
              <a:schemeClr val="bg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77740" tIns="77740" rIns="77740" bIns="77740" numCol="1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lvl="0" indent="0" defTabSz="895350" eaLnBrk="1" hangingPunct="1">
              <a:buClr>
                <a:srgbClr val="002960"/>
              </a:buClr>
              <a:buSzTx/>
              <a:buFontTx/>
              <a:buNone/>
              <a:defRPr sz="1100" b="1"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0" marR="0" lvl="0" indent="0" algn="l" defTabSz="91333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2960"/>
              </a:buClr>
              <a:buSzTx/>
              <a:buFontTx/>
              <a:buNone/>
              <a:tabLst/>
              <a:defRPr/>
            </a:pPr>
            <a:r>
              <a:rPr kumimoji="0" lang="en-US" sz="1122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roduce the scorecard</a:t>
            </a:r>
          </a:p>
        </p:txBody>
      </p:sp>
      <p:sp>
        <p:nvSpPr>
          <p:cNvPr id="48" name="TextBox 5">
            <a:extLst>
              <a:ext uri="{FF2B5EF4-FFF2-40B4-BE49-F238E27FC236}">
                <a16:creationId xmlns:a16="http://schemas.microsoft.com/office/drawing/2014/main" id="{C1E2F868-AE88-4D05-A36B-F8410C028983}"/>
              </a:ext>
            </a:extLst>
          </p:cNvPr>
          <p:cNvSpPr txBox="1">
            <a:spLocks/>
          </p:cNvSpPr>
          <p:nvPr>
            <p:custDataLst>
              <p:tags r:id="rId43"/>
            </p:custDataLst>
          </p:nvPr>
        </p:nvSpPr>
        <p:spPr bwMode="gray">
          <a:xfrm>
            <a:off x="166509" y="5184786"/>
            <a:ext cx="1295722" cy="571970"/>
          </a:xfrm>
          <a:prstGeom prst="rect">
            <a:avLst/>
          </a:prstGeom>
          <a:solidFill>
            <a:schemeClr val="tx2"/>
          </a:solidFill>
          <a:ln w="12700">
            <a:solidFill>
              <a:schemeClr val="bg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77740" tIns="77740" rIns="77740" bIns="77740" numCol="1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lvl="0" indent="0" defTabSz="895350" eaLnBrk="1" hangingPunct="1">
              <a:buClr>
                <a:srgbClr val="002960"/>
              </a:buClr>
              <a:buSzTx/>
              <a:buFontTx/>
              <a:buNone/>
              <a:defRPr sz="1100" b="1"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0" marR="0" lvl="0" indent="0" algn="l" defTabSz="91333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2960"/>
              </a:buClr>
              <a:buSzTx/>
              <a:buFontTx/>
              <a:buNone/>
              <a:tabLst/>
              <a:defRPr/>
            </a:pPr>
            <a:r>
              <a:rPr kumimoji="0" lang="en-US" sz="1122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Monitoring of actions </a:t>
            </a:r>
          </a:p>
        </p:txBody>
      </p:sp>
      <p:sp>
        <p:nvSpPr>
          <p:cNvPr id="49" name="Rectangle 140">
            <a:extLst>
              <a:ext uri="{FF2B5EF4-FFF2-40B4-BE49-F238E27FC236}">
                <a16:creationId xmlns:a16="http://schemas.microsoft.com/office/drawing/2014/main" id="{9274C64F-51E1-4B2B-9A1F-0B36DE79B793}"/>
              </a:ext>
            </a:extLst>
          </p:cNvPr>
          <p:cNvSpPr txBox="1"/>
          <p:nvPr/>
        </p:nvSpPr>
        <p:spPr>
          <a:xfrm>
            <a:off x="7689189" y="1349589"/>
            <a:ext cx="1280027" cy="25122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0" marR="0" lvl="0" indent="0" algn="l" defTabSz="91333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9302A"/>
              </a:buClr>
              <a:buSzTx/>
              <a:buFontTx/>
              <a:buNone/>
              <a:tabLst/>
              <a:defRPr/>
            </a:pPr>
            <a:r>
              <a:rPr kumimoji="0" lang="en-US" sz="1600" b="1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Responsible</a:t>
            </a: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22F3CFE9-BCEF-4AA2-8799-E75A7E4010ED}"/>
              </a:ext>
            </a:extLst>
          </p:cNvPr>
          <p:cNvSpPr txBox="1"/>
          <p:nvPr/>
        </p:nvSpPr>
        <p:spPr>
          <a:xfrm>
            <a:off x="2100527" y="1742244"/>
            <a:ext cx="464336" cy="2703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32764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2960"/>
              </a:buClr>
              <a:buSzPct val="125000"/>
              <a:buFontTx/>
              <a:buNone/>
              <a:tabLst/>
              <a:defRPr/>
            </a:pPr>
            <a:r>
              <a:rPr kumimoji="0" lang="en-US" sz="1122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Q1 </a:t>
            </a:r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8730E2EE-080F-4AE4-980F-360010513C74}"/>
              </a:ext>
            </a:extLst>
          </p:cNvPr>
          <p:cNvSpPr txBox="1"/>
          <p:nvPr/>
        </p:nvSpPr>
        <p:spPr>
          <a:xfrm>
            <a:off x="3377260" y="1736904"/>
            <a:ext cx="464336" cy="2703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32764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2960"/>
              </a:buClr>
              <a:buSzPct val="125000"/>
              <a:buFontTx/>
              <a:buNone/>
              <a:tabLst/>
              <a:defRPr/>
            </a:pPr>
            <a:r>
              <a:rPr kumimoji="0" lang="en-US" sz="1122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Q2 </a:t>
            </a:r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73A019F3-2D5F-48ED-8D90-D5C9D7A8EF5F}"/>
              </a:ext>
            </a:extLst>
          </p:cNvPr>
          <p:cNvSpPr txBox="1"/>
          <p:nvPr/>
        </p:nvSpPr>
        <p:spPr>
          <a:xfrm>
            <a:off x="4806511" y="1753363"/>
            <a:ext cx="464336" cy="2703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32764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2960"/>
              </a:buClr>
              <a:buSzPct val="125000"/>
              <a:buFontTx/>
              <a:buNone/>
              <a:tabLst/>
              <a:defRPr/>
            </a:pPr>
            <a:r>
              <a:rPr kumimoji="0" lang="en-US" sz="1122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Q3 </a:t>
            </a:r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B16EA779-E90D-4D58-8EA6-DEDC08B7F9AB}"/>
              </a:ext>
            </a:extLst>
          </p:cNvPr>
          <p:cNvSpPr txBox="1"/>
          <p:nvPr/>
        </p:nvSpPr>
        <p:spPr>
          <a:xfrm>
            <a:off x="6229174" y="1743664"/>
            <a:ext cx="464336" cy="2703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32764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2960"/>
              </a:buClr>
              <a:buSzPct val="125000"/>
              <a:buFontTx/>
              <a:buNone/>
              <a:tabLst/>
              <a:defRPr/>
            </a:pPr>
            <a:r>
              <a:rPr kumimoji="0" lang="en-US" sz="1122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Q4 </a:t>
            </a:r>
          </a:p>
        </p:txBody>
      </p:sp>
      <p:sp>
        <p:nvSpPr>
          <p:cNvPr id="54" name="Diamond 53">
            <a:extLst>
              <a:ext uri="{FF2B5EF4-FFF2-40B4-BE49-F238E27FC236}">
                <a16:creationId xmlns:a16="http://schemas.microsoft.com/office/drawing/2014/main" id="{34FE23AB-A25C-4247-AEC8-7239864AC972}"/>
              </a:ext>
            </a:extLst>
          </p:cNvPr>
          <p:cNvSpPr/>
          <p:nvPr>
            <p:custDataLst>
              <p:tags r:id="rId44"/>
            </p:custDataLst>
          </p:nvPr>
        </p:nvSpPr>
        <p:spPr bwMode="auto">
          <a:xfrm>
            <a:off x="4589326" y="2050762"/>
            <a:ext cx="348204" cy="352793"/>
          </a:xfrm>
          <a:prstGeom prst="diamond">
            <a:avLst/>
          </a:prstGeom>
          <a:solidFill>
            <a:schemeClr val="accent1"/>
          </a:solidFill>
          <a:ln w="9525" cap="flat" cmpd="sng" algn="ctr">
            <a:solidFill>
              <a:schemeClr val="tx2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3276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30" b="0" i="0" u="none" strike="noStrike" kern="1200" cap="none" spc="0" normalizeH="0" baseline="0" noProof="0" dirty="0" err="1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55" name="Diamond 54">
            <a:extLst>
              <a:ext uri="{FF2B5EF4-FFF2-40B4-BE49-F238E27FC236}">
                <a16:creationId xmlns:a16="http://schemas.microsoft.com/office/drawing/2014/main" id="{0B6BC3D3-6EA2-49B9-9E99-0DC1C5B665F5}"/>
              </a:ext>
            </a:extLst>
          </p:cNvPr>
          <p:cNvSpPr/>
          <p:nvPr>
            <p:custDataLst>
              <p:tags r:id="rId45"/>
            </p:custDataLst>
          </p:nvPr>
        </p:nvSpPr>
        <p:spPr bwMode="auto">
          <a:xfrm>
            <a:off x="5974879" y="2078063"/>
            <a:ext cx="348204" cy="352793"/>
          </a:xfrm>
          <a:prstGeom prst="diamond">
            <a:avLst/>
          </a:prstGeom>
          <a:solidFill>
            <a:schemeClr val="accent1"/>
          </a:solidFill>
          <a:ln w="9525" cap="flat" cmpd="sng" algn="ctr">
            <a:solidFill>
              <a:schemeClr val="tx2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3276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30" b="0" i="0" u="none" strike="noStrike" kern="1200" cap="none" spc="0" normalizeH="0" baseline="0" noProof="0" dirty="0" err="1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56" name="Diamond 55">
            <a:extLst>
              <a:ext uri="{FF2B5EF4-FFF2-40B4-BE49-F238E27FC236}">
                <a16:creationId xmlns:a16="http://schemas.microsoft.com/office/drawing/2014/main" id="{78B3611D-7D9C-4DE9-8057-31333AA582BE}"/>
              </a:ext>
            </a:extLst>
          </p:cNvPr>
          <p:cNvSpPr/>
          <p:nvPr>
            <p:custDataLst>
              <p:tags r:id="rId46"/>
            </p:custDataLst>
          </p:nvPr>
        </p:nvSpPr>
        <p:spPr bwMode="auto">
          <a:xfrm>
            <a:off x="1811183" y="2099048"/>
            <a:ext cx="348204" cy="352793"/>
          </a:xfrm>
          <a:prstGeom prst="diamond">
            <a:avLst/>
          </a:prstGeom>
          <a:solidFill>
            <a:schemeClr val="accent1"/>
          </a:solidFill>
          <a:ln w="9525" cap="flat" cmpd="sng" algn="ctr">
            <a:solidFill>
              <a:schemeClr val="tx2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3276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30" b="0" i="0" u="none" strike="noStrike" kern="1200" cap="none" spc="0" normalizeH="0" baseline="0" noProof="0" dirty="0" err="1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57" name="Isosceles Triangle 146">
            <a:extLst>
              <a:ext uri="{FF2B5EF4-FFF2-40B4-BE49-F238E27FC236}">
                <a16:creationId xmlns:a16="http://schemas.microsoft.com/office/drawing/2014/main" id="{9582653B-FAEC-4A6A-B216-F36835D25E9F}"/>
              </a:ext>
            </a:extLst>
          </p:cNvPr>
          <p:cNvSpPr/>
          <p:nvPr>
            <p:custDataLst>
              <p:tags r:id="rId47"/>
            </p:custDataLst>
          </p:nvPr>
        </p:nvSpPr>
        <p:spPr bwMode="auto">
          <a:xfrm>
            <a:off x="4988385" y="3010301"/>
            <a:ext cx="325533" cy="270033"/>
          </a:xfrm>
          <a:prstGeom prst="triangle">
            <a:avLst/>
          </a:prstGeom>
          <a:solidFill>
            <a:srgbClr val="E8DB34"/>
          </a:solidFill>
          <a:ln w="9525" cap="flat" cmpd="sng" algn="ctr">
            <a:solidFill>
              <a:schemeClr val="tx2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93276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3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58" name="Isosceles Triangle 147">
            <a:extLst>
              <a:ext uri="{FF2B5EF4-FFF2-40B4-BE49-F238E27FC236}">
                <a16:creationId xmlns:a16="http://schemas.microsoft.com/office/drawing/2014/main" id="{D5B43836-0EF4-4BFC-893F-343E320BC0E7}"/>
              </a:ext>
            </a:extLst>
          </p:cNvPr>
          <p:cNvSpPr/>
          <p:nvPr>
            <p:custDataLst>
              <p:tags r:id="rId48"/>
            </p:custDataLst>
          </p:nvPr>
        </p:nvSpPr>
        <p:spPr bwMode="auto">
          <a:xfrm>
            <a:off x="6393199" y="3010301"/>
            <a:ext cx="325533" cy="270033"/>
          </a:xfrm>
          <a:prstGeom prst="triangle">
            <a:avLst/>
          </a:prstGeom>
          <a:solidFill>
            <a:srgbClr val="E8DB34"/>
          </a:solidFill>
          <a:ln w="9525" cap="flat" cmpd="sng" algn="ctr">
            <a:solidFill>
              <a:schemeClr val="tx2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93276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3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59" name="Isosceles Triangle 148">
            <a:extLst>
              <a:ext uri="{FF2B5EF4-FFF2-40B4-BE49-F238E27FC236}">
                <a16:creationId xmlns:a16="http://schemas.microsoft.com/office/drawing/2014/main" id="{5C7C7763-F65B-4400-A820-BF12C216C933}"/>
              </a:ext>
            </a:extLst>
          </p:cNvPr>
          <p:cNvSpPr/>
          <p:nvPr>
            <p:custDataLst>
              <p:tags r:id="rId49"/>
            </p:custDataLst>
          </p:nvPr>
        </p:nvSpPr>
        <p:spPr bwMode="auto">
          <a:xfrm>
            <a:off x="2127902" y="3010301"/>
            <a:ext cx="325533" cy="270033"/>
          </a:xfrm>
          <a:prstGeom prst="triangle">
            <a:avLst/>
          </a:prstGeom>
          <a:solidFill>
            <a:srgbClr val="E8DB34"/>
          </a:solidFill>
          <a:ln w="9525" cap="flat" cmpd="sng" algn="ctr">
            <a:solidFill>
              <a:schemeClr val="tx2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93276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3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60" name="Text Placeholder 16">
            <a:extLst>
              <a:ext uri="{FF2B5EF4-FFF2-40B4-BE49-F238E27FC236}">
                <a16:creationId xmlns:a16="http://schemas.microsoft.com/office/drawing/2014/main" id="{826724B3-D66B-40A6-97B4-8668563094B2}"/>
              </a:ext>
            </a:extLst>
          </p:cNvPr>
          <p:cNvSpPr>
            <a:spLocks noGrp="1"/>
          </p:cNvSpPr>
          <p:nvPr>
            <p:custDataLst>
              <p:tags r:id="rId50"/>
            </p:custDataLst>
          </p:nvPr>
        </p:nvSpPr>
        <p:spPr bwMode="auto">
          <a:xfrm>
            <a:off x="6552935" y="3871411"/>
            <a:ext cx="1011198" cy="262276"/>
          </a:xfrm>
          <a:prstGeom prst="homePlate">
            <a:avLst>
              <a:gd name="adj" fmla="val 18788"/>
            </a:avLst>
          </a:prstGeom>
          <a:solidFill>
            <a:schemeClr val="bg2"/>
          </a:solidFill>
          <a:ln w="9525">
            <a:solidFill>
              <a:schemeClr val="tx1"/>
            </a:solidFill>
          </a:ln>
        </p:spPr>
        <p:txBody>
          <a:bodyPr vert="horz" wrap="square" lIns="92316" tIns="46967" rIns="0" bIns="46967" numCol="1" spcCol="0" rtlCol="0" anchor="ctr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l" defTabSz="91333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39302A"/>
              </a:buClr>
              <a:buSzTx/>
              <a:buFontTx/>
              <a:buNone/>
              <a:tabLst/>
              <a:defRPr/>
            </a:pPr>
            <a:endParaRPr kumimoji="0" lang="en-US" sz="1224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1" name="Rectangle 140">
            <a:extLst>
              <a:ext uri="{FF2B5EF4-FFF2-40B4-BE49-F238E27FC236}">
                <a16:creationId xmlns:a16="http://schemas.microsoft.com/office/drawing/2014/main" id="{2CC65E00-3C2C-41EA-9E17-36CC10E7A8A8}"/>
              </a:ext>
            </a:extLst>
          </p:cNvPr>
          <p:cNvSpPr txBox="1"/>
          <p:nvPr/>
        </p:nvSpPr>
        <p:spPr>
          <a:xfrm>
            <a:off x="275467" y="1413245"/>
            <a:ext cx="1169502" cy="25122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0" marR="0" lvl="0" indent="0" algn="l" defTabSz="91333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9302A"/>
              </a:buClr>
              <a:buSzTx/>
              <a:buFontTx/>
              <a:buNone/>
              <a:tabLst/>
              <a:defRPr/>
            </a:pPr>
            <a:r>
              <a:rPr kumimoji="0" lang="en-US" sz="1600" b="1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ctivity</a:t>
            </a:r>
          </a:p>
        </p:txBody>
      </p:sp>
      <p:sp>
        <p:nvSpPr>
          <p:cNvPr id="62" name="TextBox 5">
            <a:extLst>
              <a:ext uri="{FF2B5EF4-FFF2-40B4-BE49-F238E27FC236}">
                <a16:creationId xmlns:a16="http://schemas.microsoft.com/office/drawing/2014/main" id="{29253D7E-7303-4742-AE70-2F8FED3D7BB3}"/>
              </a:ext>
            </a:extLst>
          </p:cNvPr>
          <p:cNvSpPr txBox="1">
            <a:spLocks/>
          </p:cNvSpPr>
          <p:nvPr>
            <p:custDataLst>
              <p:tags r:id="rId51"/>
            </p:custDataLst>
          </p:nvPr>
        </p:nvSpPr>
        <p:spPr bwMode="gray">
          <a:xfrm>
            <a:off x="166509" y="2759931"/>
            <a:ext cx="1295722" cy="729916"/>
          </a:xfrm>
          <a:prstGeom prst="rect">
            <a:avLst/>
          </a:prstGeom>
          <a:solidFill>
            <a:schemeClr val="tx2"/>
          </a:solidFill>
          <a:ln w="12700">
            <a:solidFill>
              <a:schemeClr val="bg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77740" tIns="77740" rIns="77740" bIns="77740" numCol="1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lvl="0" indent="0" defTabSz="895350" eaLnBrk="1" hangingPunct="1">
              <a:buClr>
                <a:srgbClr val="002960"/>
              </a:buClr>
              <a:buSzTx/>
              <a:buFontTx/>
              <a:buNone/>
              <a:defRPr sz="1100" b="1"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0" marR="0" lvl="0" indent="0" algn="l" defTabSz="91333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2960"/>
              </a:buClr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nalyse</a:t>
            </a: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scorecard and propose actions</a:t>
            </a:r>
          </a:p>
        </p:txBody>
      </p:sp>
      <p:sp>
        <p:nvSpPr>
          <p:cNvPr id="63" name="Text Placeholder 19">
            <a:extLst>
              <a:ext uri="{FF2B5EF4-FFF2-40B4-BE49-F238E27FC236}">
                <a16:creationId xmlns:a16="http://schemas.microsoft.com/office/drawing/2014/main" id="{2B71DC0A-F78E-4ED3-AA8D-A87099C689F8}"/>
              </a:ext>
            </a:extLst>
          </p:cNvPr>
          <p:cNvSpPr>
            <a:spLocks noGrp="1"/>
          </p:cNvSpPr>
          <p:nvPr>
            <p:custDataLst>
              <p:tags r:id="rId52"/>
            </p:custDataLst>
          </p:nvPr>
        </p:nvSpPr>
        <p:spPr bwMode="gray">
          <a:xfrm>
            <a:off x="5043879" y="5365042"/>
            <a:ext cx="1199994" cy="267226"/>
          </a:xfrm>
          <a:prstGeom prst="homePlate">
            <a:avLst>
              <a:gd name="adj" fmla="val 18788"/>
            </a:avLst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rgbClr val="808080"/>
            </a:solidFill>
          </a:ln>
        </p:spPr>
        <p:txBody>
          <a:bodyPr vert="horz" wrap="square" lIns="92316" tIns="46967" rIns="0" bIns="46967" numCol="1" spcCol="0" rtlCol="0" anchor="ctr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l" defTabSz="91333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39302A"/>
              </a:buClr>
              <a:buSzTx/>
              <a:buFontTx/>
              <a:buNone/>
              <a:tabLst/>
              <a:defRPr/>
            </a:pPr>
            <a:endParaRPr kumimoji="0" lang="en-US" sz="1224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4" name="Text Placeholder 18">
            <a:extLst>
              <a:ext uri="{FF2B5EF4-FFF2-40B4-BE49-F238E27FC236}">
                <a16:creationId xmlns:a16="http://schemas.microsoft.com/office/drawing/2014/main" id="{956FDDAA-1F07-44C1-BF64-C323C7FC2C64}"/>
              </a:ext>
            </a:extLst>
          </p:cNvPr>
          <p:cNvSpPr>
            <a:spLocks noGrp="1"/>
          </p:cNvSpPr>
          <p:nvPr>
            <p:custDataLst>
              <p:tags r:id="rId53"/>
            </p:custDataLst>
          </p:nvPr>
        </p:nvSpPr>
        <p:spPr bwMode="gray">
          <a:xfrm>
            <a:off x="3549541" y="5380913"/>
            <a:ext cx="1224382" cy="267226"/>
          </a:xfrm>
          <a:prstGeom prst="homePlate">
            <a:avLst>
              <a:gd name="adj" fmla="val 18788"/>
            </a:avLst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rgbClr val="808080"/>
            </a:solidFill>
          </a:ln>
        </p:spPr>
        <p:txBody>
          <a:bodyPr vert="horz" wrap="square" lIns="92316" tIns="46967" rIns="0" bIns="46967" numCol="1" spcCol="0" rtlCol="0" anchor="ctr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l" defTabSz="91333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39302A"/>
              </a:buClr>
              <a:buSzTx/>
              <a:buFontTx/>
              <a:buNone/>
              <a:tabLst/>
              <a:defRPr/>
            </a:pPr>
            <a:endParaRPr kumimoji="0" lang="en-US" sz="1224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5" name="Text Placeholder 20">
            <a:extLst>
              <a:ext uri="{FF2B5EF4-FFF2-40B4-BE49-F238E27FC236}">
                <a16:creationId xmlns:a16="http://schemas.microsoft.com/office/drawing/2014/main" id="{3B023E93-9FA1-4CE7-9823-9FFD682169DF}"/>
              </a:ext>
            </a:extLst>
          </p:cNvPr>
          <p:cNvSpPr>
            <a:spLocks noGrp="1"/>
          </p:cNvSpPr>
          <p:nvPr>
            <p:custDataLst>
              <p:tags r:id="rId54"/>
            </p:custDataLst>
          </p:nvPr>
        </p:nvSpPr>
        <p:spPr bwMode="gray">
          <a:xfrm>
            <a:off x="6459985" y="5365042"/>
            <a:ext cx="1066087" cy="262276"/>
          </a:xfrm>
          <a:prstGeom prst="homePlate">
            <a:avLst>
              <a:gd name="adj" fmla="val 18788"/>
            </a:avLst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rgbClr val="808080"/>
            </a:solidFill>
          </a:ln>
        </p:spPr>
        <p:txBody>
          <a:bodyPr vert="horz" wrap="square" lIns="92316" tIns="46967" rIns="0" bIns="46967" numCol="1" spcCol="0" rtlCol="0" anchor="ctr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l" defTabSz="91333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39302A"/>
              </a:buClr>
              <a:buSzTx/>
              <a:buFontTx/>
              <a:buNone/>
              <a:tabLst/>
              <a:defRPr/>
            </a:pPr>
            <a:endParaRPr kumimoji="0" lang="en-US" sz="1224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6" name="Text Placeholder 3">
            <a:extLst>
              <a:ext uri="{FF2B5EF4-FFF2-40B4-BE49-F238E27FC236}">
                <a16:creationId xmlns:a16="http://schemas.microsoft.com/office/drawing/2014/main" id="{A855AE5C-9776-464B-BE99-C18182D6581A}"/>
              </a:ext>
            </a:extLst>
          </p:cNvPr>
          <p:cNvSpPr>
            <a:spLocks noGrp="1"/>
          </p:cNvSpPr>
          <p:nvPr>
            <p:custDataLst>
              <p:tags r:id="rId55"/>
            </p:custDataLst>
          </p:nvPr>
        </p:nvSpPr>
        <p:spPr bwMode="gray">
          <a:xfrm>
            <a:off x="1974294" y="5382451"/>
            <a:ext cx="1162839" cy="267226"/>
          </a:xfrm>
          <a:prstGeom prst="homePlate">
            <a:avLst>
              <a:gd name="adj" fmla="val 18788"/>
            </a:avLst>
          </a:prstGeom>
          <a:solidFill>
            <a:schemeClr val="accent4">
              <a:lumMod val="60000"/>
              <a:lumOff val="40000"/>
            </a:schemeClr>
          </a:solidFill>
          <a:ln w="9525">
            <a:solidFill>
              <a:srgbClr val="808080"/>
            </a:solidFill>
          </a:ln>
        </p:spPr>
        <p:txBody>
          <a:bodyPr vert="horz" wrap="square" lIns="92316" tIns="46967" rIns="0" bIns="46967" numCol="1" spcCol="0" rtlCol="0" anchor="ctr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l" defTabSz="91333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39302A"/>
              </a:buClr>
              <a:buSzTx/>
              <a:buFontTx/>
              <a:buNone/>
              <a:tabLst/>
              <a:defRPr/>
            </a:pPr>
            <a:endParaRPr kumimoji="0" lang="en-US" sz="1224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 useBgFill="1">
        <p:nvSpPr>
          <p:cNvPr id="67" name="Text Placeholder 14">
            <a:extLst>
              <a:ext uri="{FF2B5EF4-FFF2-40B4-BE49-F238E27FC236}">
                <a16:creationId xmlns:a16="http://schemas.microsoft.com/office/drawing/2014/main" id="{BE5DD82A-8423-4592-9F99-4FDFBAA0C216}"/>
              </a:ext>
            </a:extLst>
          </p:cNvPr>
          <p:cNvSpPr>
            <a:spLocks noGrp="1"/>
          </p:cNvSpPr>
          <p:nvPr>
            <p:custDataLst>
              <p:tags r:id="rId56"/>
            </p:custDataLst>
          </p:nvPr>
        </p:nvSpPr>
        <p:spPr bwMode="auto">
          <a:xfrm>
            <a:off x="1626494" y="6153542"/>
            <a:ext cx="931190" cy="186238"/>
          </a:xfrm>
          <a:prstGeom prst="rect">
            <a:avLst/>
          </a:prstGeom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l" defTabSz="8953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39302A"/>
              </a:buClr>
              <a:buSzTx/>
              <a:buFontTx/>
              <a:buNone/>
              <a:tabLst/>
              <a:defRPr/>
            </a:pPr>
            <a:r>
              <a:rPr kumimoji="0" lang="fr-FR" sz="1224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Q4 </a:t>
            </a:r>
            <a:r>
              <a:rPr kumimoji="0" lang="fr-FR" sz="1224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Scorecard</a:t>
            </a:r>
            <a:endParaRPr kumimoji="0" lang="fr-FR" sz="1224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 useBgFill="1">
        <p:nvSpPr>
          <p:cNvPr id="68" name="Text Placeholder 4">
            <a:extLst>
              <a:ext uri="{FF2B5EF4-FFF2-40B4-BE49-F238E27FC236}">
                <a16:creationId xmlns:a16="http://schemas.microsoft.com/office/drawing/2014/main" id="{1A855986-B1B7-4424-8FD2-49DE17BF54FC}"/>
              </a:ext>
            </a:extLst>
          </p:cNvPr>
          <p:cNvSpPr>
            <a:spLocks noGrp="1"/>
          </p:cNvSpPr>
          <p:nvPr>
            <p:custDataLst>
              <p:tags r:id="rId57"/>
            </p:custDataLst>
          </p:nvPr>
        </p:nvSpPr>
        <p:spPr bwMode="auto">
          <a:xfrm>
            <a:off x="2926980" y="6153540"/>
            <a:ext cx="931190" cy="122702"/>
          </a:xfrm>
          <a:prstGeom prst="rect">
            <a:avLst/>
          </a:prstGeom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8953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39302A"/>
              </a:buClr>
              <a:buSzTx/>
              <a:buFontTx/>
              <a:buNone/>
              <a:tabLst/>
              <a:defRPr/>
            </a:pPr>
            <a:r>
              <a:rPr kumimoji="0" lang="fr-FR" sz="1224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Q1 </a:t>
            </a:r>
            <a:r>
              <a:rPr kumimoji="0" lang="fr-FR" sz="1224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Scorecard</a:t>
            </a:r>
            <a:endParaRPr kumimoji="0" lang="fr-FR" sz="1224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 useBgFill="1">
        <p:nvSpPr>
          <p:cNvPr id="69" name="Text Placeholder 11">
            <a:extLst>
              <a:ext uri="{FF2B5EF4-FFF2-40B4-BE49-F238E27FC236}">
                <a16:creationId xmlns:a16="http://schemas.microsoft.com/office/drawing/2014/main" id="{6B17D515-02D6-458F-8FF4-66BC56170ED3}"/>
              </a:ext>
            </a:extLst>
          </p:cNvPr>
          <p:cNvSpPr>
            <a:spLocks noGrp="1"/>
          </p:cNvSpPr>
          <p:nvPr>
            <p:custDataLst>
              <p:tags r:id="rId58"/>
            </p:custDataLst>
          </p:nvPr>
        </p:nvSpPr>
        <p:spPr bwMode="auto">
          <a:xfrm>
            <a:off x="4399249" y="6153542"/>
            <a:ext cx="931190" cy="186238"/>
          </a:xfrm>
          <a:prstGeom prst="rect">
            <a:avLst/>
          </a:prstGeom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l" defTabSz="8953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39302A"/>
              </a:buClr>
              <a:buSzTx/>
              <a:buFontTx/>
              <a:buNone/>
              <a:tabLst/>
              <a:defRPr/>
            </a:pPr>
            <a:r>
              <a:rPr kumimoji="0" lang="fr-FR" sz="1224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Q2 </a:t>
            </a:r>
            <a:r>
              <a:rPr kumimoji="0" lang="fr-FR" sz="1224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Scorecard</a:t>
            </a:r>
            <a:endParaRPr kumimoji="0" lang="fr-FR" sz="1224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 useBgFill="1">
        <p:nvSpPr>
          <p:cNvPr id="70" name="Text Placeholder 12">
            <a:extLst>
              <a:ext uri="{FF2B5EF4-FFF2-40B4-BE49-F238E27FC236}">
                <a16:creationId xmlns:a16="http://schemas.microsoft.com/office/drawing/2014/main" id="{4264F1D1-272E-45AA-A14D-9D6940AE7D77}"/>
              </a:ext>
            </a:extLst>
          </p:cNvPr>
          <p:cNvSpPr>
            <a:spLocks noGrp="1"/>
          </p:cNvSpPr>
          <p:nvPr>
            <p:custDataLst>
              <p:tags r:id="rId59"/>
            </p:custDataLst>
          </p:nvPr>
        </p:nvSpPr>
        <p:spPr bwMode="auto">
          <a:xfrm>
            <a:off x="5830955" y="6153542"/>
            <a:ext cx="931190" cy="186238"/>
          </a:xfrm>
          <a:prstGeom prst="rect">
            <a:avLst/>
          </a:prstGeom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l" defTabSz="8953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39302A"/>
              </a:buClr>
              <a:buSzTx/>
              <a:buFontTx/>
              <a:buNone/>
              <a:tabLst/>
              <a:defRPr/>
            </a:pPr>
            <a:r>
              <a:rPr kumimoji="0" lang="fr-FR" sz="1224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Q3 </a:t>
            </a:r>
            <a:r>
              <a:rPr kumimoji="0" lang="fr-FR" sz="1224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Scorecard</a:t>
            </a:r>
            <a:endParaRPr kumimoji="0" lang="fr-FR" sz="1224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1" name="TextBox 5">
            <a:extLst>
              <a:ext uri="{FF2B5EF4-FFF2-40B4-BE49-F238E27FC236}">
                <a16:creationId xmlns:a16="http://schemas.microsoft.com/office/drawing/2014/main" id="{53E8B203-82C2-4A38-9836-0DDD4A624805}"/>
              </a:ext>
            </a:extLst>
          </p:cNvPr>
          <p:cNvSpPr txBox="1">
            <a:spLocks/>
          </p:cNvSpPr>
          <p:nvPr>
            <p:custDataLst>
              <p:tags r:id="rId60"/>
            </p:custDataLst>
          </p:nvPr>
        </p:nvSpPr>
        <p:spPr bwMode="gray">
          <a:xfrm>
            <a:off x="7625071" y="4503633"/>
            <a:ext cx="1295722" cy="706260"/>
          </a:xfrm>
          <a:prstGeom prst="rect">
            <a:avLst/>
          </a:prstGeom>
          <a:noFill/>
          <a:ln w="12700">
            <a:solidFill>
              <a:schemeClr val="tx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77740" tIns="77740" rIns="77740" bIns="77740" numCol="1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lvl="0" indent="0" defTabSz="895350" eaLnBrk="1" hangingPunct="1">
              <a:buClr>
                <a:srgbClr val="002960"/>
              </a:buClr>
              <a:buSzTx/>
              <a:buFontTx/>
              <a:buNone/>
              <a:defRPr sz="1100" b="1" baseline="0">
                <a:solidFill>
                  <a:schemeClr val="bg1"/>
                </a:solidFill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0" defTabSz="913332">
              <a:defRPr/>
            </a:pPr>
            <a:r>
              <a:rPr lang="en-US" sz="1122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_____________</a:t>
            </a:r>
          </a:p>
        </p:txBody>
      </p:sp>
      <p:sp>
        <p:nvSpPr>
          <p:cNvPr id="72" name="TextBox 5">
            <a:extLst>
              <a:ext uri="{FF2B5EF4-FFF2-40B4-BE49-F238E27FC236}">
                <a16:creationId xmlns:a16="http://schemas.microsoft.com/office/drawing/2014/main" id="{687BF0FF-9583-48F0-B97F-1DE6F0F1B52E}"/>
              </a:ext>
            </a:extLst>
          </p:cNvPr>
          <p:cNvSpPr txBox="1">
            <a:spLocks/>
          </p:cNvSpPr>
          <p:nvPr>
            <p:custDataLst>
              <p:tags r:id="rId61"/>
            </p:custDataLst>
          </p:nvPr>
        </p:nvSpPr>
        <p:spPr bwMode="gray">
          <a:xfrm>
            <a:off x="7625071" y="3596977"/>
            <a:ext cx="1295722" cy="797473"/>
          </a:xfrm>
          <a:prstGeom prst="rect">
            <a:avLst/>
          </a:prstGeom>
          <a:noFill/>
          <a:ln w="12700">
            <a:solidFill>
              <a:schemeClr val="tx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77740" tIns="77740" rIns="77740" bIns="77740" numCol="1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lvl="0" indent="0" defTabSz="895350" eaLnBrk="1" hangingPunct="1">
              <a:buClr>
                <a:srgbClr val="002960"/>
              </a:buClr>
              <a:buSzTx/>
              <a:buFontTx/>
              <a:buNone/>
              <a:defRPr sz="1100" b="1"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0" marR="0" lvl="0" indent="0" algn="l" defTabSz="91333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2960"/>
              </a:buClr>
              <a:buSzTx/>
              <a:buFontTx/>
              <a:buNone/>
              <a:tabLst/>
              <a:defRPr/>
            </a:pPr>
            <a:r>
              <a:rPr kumimoji="0" lang="en-US" sz="1122" b="1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_____________</a:t>
            </a:r>
          </a:p>
        </p:txBody>
      </p:sp>
      <p:sp>
        <p:nvSpPr>
          <p:cNvPr id="73" name="TextBox 5">
            <a:extLst>
              <a:ext uri="{FF2B5EF4-FFF2-40B4-BE49-F238E27FC236}">
                <a16:creationId xmlns:a16="http://schemas.microsoft.com/office/drawing/2014/main" id="{BF540E68-C36D-4298-8F0C-487D0EC42D9C}"/>
              </a:ext>
            </a:extLst>
          </p:cNvPr>
          <p:cNvSpPr txBox="1">
            <a:spLocks/>
          </p:cNvSpPr>
          <p:nvPr>
            <p:custDataLst>
              <p:tags r:id="rId62"/>
            </p:custDataLst>
          </p:nvPr>
        </p:nvSpPr>
        <p:spPr bwMode="gray">
          <a:xfrm>
            <a:off x="7606843" y="1842579"/>
            <a:ext cx="1329053" cy="815713"/>
          </a:xfrm>
          <a:prstGeom prst="rect">
            <a:avLst/>
          </a:prstGeom>
          <a:noFill/>
          <a:ln w="12700">
            <a:solidFill>
              <a:schemeClr val="tx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77740" tIns="77740" rIns="77740" bIns="77740" numCol="1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lvl="0" indent="0" defTabSz="895350" eaLnBrk="1" hangingPunct="1">
              <a:buClr>
                <a:srgbClr val="002960"/>
              </a:buClr>
              <a:buSzTx/>
              <a:buFontTx/>
              <a:buNone/>
              <a:defRPr sz="1100" b="1"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0" marR="0" lvl="0" indent="0" algn="l" defTabSz="91333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2960"/>
              </a:buClr>
              <a:buSzTx/>
              <a:buFontTx/>
              <a:buNone/>
              <a:tabLst/>
              <a:defRPr/>
            </a:pPr>
            <a:r>
              <a:rPr kumimoji="0" lang="en-US" sz="1122" b="1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_____________</a:t>
            </a:r>
          </a:p>
        </p:txBody>
      </p:sp>
      <p:sp>
        <p:nvSpPr>
          <p:cNvPr id="74" name="TextBox 5">
            <a:extLst>
              <a:ext uri="{FF2B5EF4-FFF2-40B4-BE49-F238E27FC236}">
                <a16:creationId xmlns:a16="http://schemas.microsoft.com/office/drawing/2014/main" id="{F21D15F9-DD8F-4A62-9FDB-E9E1F5C4F72D}"/>
              </a:ext>
            </a:extLst>
          </p:cNvPr>
          <p:cNvSpPr txBox="1">
            <a:spLocks/>
          </p:cNvSpPr>
          <p:nvPr>
            <p:custDataLst>
              <p:tags r:id="rId63"/>
            </p:custDataLst>
          </p:nvPr>
        </p:nvSpPr>
        <p:spPr bwMode="gray">
          <a:xfrm>
            <a:off x="7625071" y="5264755"/>
            <a:ext cx="1295722" cy="571970"/>
          </a:xfrm>
          <a:prstGeom prst="rect">
            <a:avLst/>
          </a:prstGeom>
          <a:noFill/>
          <a:ln w="12700">
            <a:solidFill>
              <a:schemeClr val="tx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77740" tIns="77740" rIns="77740" bIns="77740" numCol="1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lvl="0" indent="0" defTabSz="895350" eaLnBrk="1" hangingPunct="1">
              <a:buClr>
                <a:srgbClr val="002960"/>
              </a:buClr>
              <a:buSzTx/>
              <a:buFontTx/>
              <a:buNone/>
              <a:defRPr sz="1100" b="1"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0" defTabSz="913332">
              <a:defRPr/>
            </a:pPr>
            <a:r>
              <a:rPr lang="en-US" sz="105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_____________</a:t>
            </a:r>
          </a:p>
        </p:txBody>
      </p:sp>
      <p:sp>
        <p:nvSpPr>
          <p:cNvPr id="75" name="TextBox 5">
            <a:extLst>
              <a:ext uri="{FF2B5EF4-FFF2-40B4-BE49-F238E27FC236}">
                <a16:creationId xmlns:a16="http://schemas.microsoft.com/office/drawing/2014/main" id="{C126B011-606E-4091-81C6-F897DE767BDE}"/>
              </a:ext>
            </a:extLst>
          </p:cNvPr>
          <p:cNvSpPr txBox="1">
            <a:spLocks/>
          </p:cNvSpPr>
          <p:nvPr>
            <p:custDataLst>
              <p:tags r:id="rId64"/>
            </p:custDataLst>
          </p:nvPr>
        </p:nvSpPr>
        <p:spPr bwMode="gray">
          <a:xfrm>
            <a:off x="7625071" y="2767474"/>
            <a:ext cx="1295722" cy="729916"/>
          </a:xfrm>
          <a:prstGeom prst="rect">
            <a:avLst/>
          </a:prstGeom>
          <a:noFill/>
          <a:ln w="12700">
            <a:solidFill>
              <a:schemeClr val="tx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77740" tIns="77740" rIns="77740" bIns="77740" numCol="1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lvl="0" indent="0" defTabSz="895350" eaLnBrk="1" hangingPunct="1">
              <a:buClr>
                <a:srgbClr val="002960"/>
              </a:buClr>
              <a:buSzTx/>
              <a:buFontTx/>
              <a:buNone/>
              <a:defRPr sz="1100" b="1"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0" defTabSz="913332">
              <a:defRPr/>
            </a:pPr>
            <a:r>
              <a:rPr lang="en-US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_____________</a:t>
            </a:r>
          </a:p>
        </p:txBody>
      </p:sp>
      <p:sp>
        <p:nvSpPr>
          <p:cNvPr id="76" name="Rectangle 75">
            <a:extLst>
              <a:ext uri="{FF2B5EF4-FFF2-40B4-BE49-F238E27FC236}">
                <a16:creationId xmlns:a16="http://schemas.microsoft.com/office/drawing/2014/main" id="{77637197-DBCE-4F00-9214-EB00B7C9955B}"/>
              </a:ext>
            </a:extLst>
          </p:cNvPr>
          <p:cNvSpPr/>
          <p:nvPr/>
        </p:nvSpPr>
        <p:spPr>
          <a:xfrm>
            <a:off x="2159387" y="6429112"/>
            <a:ext cx="72534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*The scorecard is produced </a:t>
            </a:r>
            <a:r>
              <a:rPr kumimoji="0" lang="en-US" sz="1200" b="0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21 days after the end of each quarter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8000532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43426"/>
    </mc:Choice>
    <mc:Fallback xmlns="">
      <p:transition spd="slow" advTm="43426"/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foMoB7vykem_NiZOaLdE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BUuQjjzy0.Uxj6rbr_o7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W9YH37MmUmVVI6BhyFBJ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9BIaZsioUa99A0dMYGJS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5sk_Utt1U.bINCDVae8q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zosgVHcPEGGG.CYkMcj8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kxrnSfzNkiuENs7X3KZS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i9RlFIeU28Zv4Nb5hkk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9AQZ3zr_kqXnveEr9MxJ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yE8V6l8y0mAfZ6GqLyfA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9J7fcwl70uIsArTjJRRM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4z0q8AVoEyjxOPBDfm25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N1papCZek2oR7OLGr_.v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9GQNtvjiEy1eEj4j47sM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qoBTadjrku5_C4YgEqRm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KbM2NWdW02ep3.i5q8QT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ONrleakz0GXIidPTC.X5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7xXGO.720C35L5QszH8wA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FPCGt.ZmEmuYlfZUv.AvQ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z2y.UCwXkKzSkc.6mIZv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5|30.7|22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uNtbb9hHUel4zOjelHx7g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XMbFoCOw0mcpOFfJr.H.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Wzx5GXnvEa9JWR6xqv2YA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eNBX5GZP0u3RyJlmp.IUQ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WdxgG5HSEmyEfgF6Vrc2g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N0BmkAJ1UiuFlJ9KSZW4Q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z9rpheRoE6xCJOB.PYXm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NE8kDQJzUWCaaC5l23GjQ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qJfAeeSWEKykFQZpsjzxQ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uyAz7p3cUWWrSYeIkh.9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5|30.7|22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.IWwjt9xEOGY5vylGSjVw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aLpf9P_qUacv4MuV9xJow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.JpGpYbTE2jmj1OlUuJVQ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Z9Mv409b06k1957FIDXqw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qhPs4eQ_0eA2bVOFYbIxA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Z9Mv409b06k1957FIDXqw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Z9Mv409b06k1957FIDXqw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Z9Mv409b06k1957FIDXq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qhPs4eQ_0eA2bVOFYbIxA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qhPs4eQ_0eA2bVOFYbIxA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qhPs4eQ_0eA2bVOFYbIxA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qJfAeeSWEKykFQZpsjzxQ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XMbFoCOw0mcpOFfJr.H.A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Wzx5GXnvEa9JWR6xqv2YA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eNBX5GZP0u3RyJlmp.IUQ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NE8kDQJzUWCaaC5l23GjQ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J13Nb5Db0yF4kxv1yq8X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rg2F0Nq0kmzFSavvrR5Yw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5dzYfV9T0q8LJbLD5OqOA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iPMy7Y3BUGMYxfw.AIYKw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OLvPBDxPESyw7I8OvcZj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jR_Y86.P0.53_eTV5MBV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wjqEsPqOk6m_Hs1Y1dMiw"/>
</p:tagLst>
</file>

<file path=ppt/theme/theme1.xml><?xml version="1.0" encoding="utf-8"?>
<a:theme xmlns:a="http://schemas.openxmlformats.org/drawingml/2006/main" name="6_Firm Format - English (US)">
  <a:themeElements>
    <a:clrScheme name="ALMA">
      <a:dk1>
        <a:sysClr val="windowText" lastClr="000000"/>
      </a:dk1>
      <a:lt1>
        <a:sysClr val="window" lastClr="FFFFFF"/>
      </a:lt1>
      <a:dk2>
        <a:srgbClr val="39302A"/>
      </a:dk2>
      <a:lt2>
        <a:srgbClr val="E5DEDB"/>
      </a:lt2>
      <a:accent1>
        <a:srgbClr val="FFCA08"/>
      </a:accent1>
      <a:accent2>
        <a:srgbClr val="E06020"/>
      </a:accent2>
      <a:accent3>
        <a:srgbClr val="6F0710"/>
      </a:accent3>
      <a:accent4>
        <a:srgbClr val="38529C"/>
      </a:accent4>
      <a:accent5>
        <a:srgbClr val="002060"/>
      </a:accent5>
      <a:accent6>
        <a:srgbClr val="00B050"/>
      </a:accent6>
      <a:hlink>
        <a:srgbClr val="FFFF00"/>
      </a:hlink>
      <a:folHlink>
        <a:srgbClr val="FF000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Presentation3" id="{EB35FD5B-2F99-4FAD-9B4E-D8721F1E3784}" vid="{D98C0DBE-85CF-4894-B63D-36EC061A5849}"/>
    </a:ext>
  </a:extLst>
</a:theme>
</file>

<file path=ppt/theme/theme2.xml><?xml version="1.0" encoding="utf-8"?>
<a:theme xmlns:a="http://schemas.openxmlformats.org/drawingml/2006/main" name="1_Office Theme">
  <a:themeElements>
    <a:clrScheme name="ALMA">
      <a:dk1>
        <a:sysClr val="windowText" lastClr="000000"/>
      </a:dk1>
      <a:lt1>
        <a:sysClr val="window" lastClr="FFFFFF"/>
      </a:lt1>
      <a:dk2>
        <a:srgbClr val="38529C"/>
      </a:dk2>
      <a:lt2>
        <a:srgbClr val="D8D8D8"/>
      </a:lt2>
      <a:accent1>
        <a:srgbClr val="FDC228"/>
      </a:accent1>
      <a:accent2>
        <a:srgbClr val="D8602C"/>
      </a:accent2>
      <a:accent3>
        <a:srgbClr val="6F0710"/>
      </a:accent3>
      <a:accent4>
        <a:srgbClr val="38529C"/>
      </a:accent4>
      <a:accent5>
        <a:srgbClr val="8C942D"/>
      </a:accent5>
      <a:accent6>
        <a:srgbClr val="C00000"/>
      </a:accent6>
      <a:hlink>
        <a:srgbClr val="7030A0"/>
      </a:hlink>
      <a:folHlink>
        <a:srgbClr val="00B050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 w="19050">
          <a:solidFill>
            <a:schemeClr val="tx2"/>
          </a:solidFill>
        </a:ln>
      </a:spPr>
      <a:bodyPr rtlCol="0" anchor="ctr"/>
      <a:lstStyle>
        <a:defPPr algn="ctr">
          <a:defRPr sz="1400" b="1" dirty="0" smtClean="0">
            <a:latin typeface="Arial" panose="020B0604020202020204" pitchFamily="34" charset="0"/>
            <a:cs typeface="Arial" panose="020B0604020202020204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/>
      <a:bodyPr vert="horz" wrap="square" lIns="0" tIns="0" rIns="0" bIns="0" rtlCol="0">
        <a:spAutoFit/>
      </a:bodyPr>
      <a:lstStyle>
        <a:defPPr algn="ctr">
          <a:defRPr dirty="0" smtClean="0">
            <a:latin typeface="Arial" panose="020B0604020202020204" pitchFamily="34" charset="0"/>
            <a:cs typeface="Arial" panose="020B0604020202020204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2" id="{C3957EBB-0986-42F2-89F4-1BF58E360038}" vid="{7C349CCB-BA54-4A56-8811-3D3657F02C63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5</TotalTime>
  <Words>100</Words>
  <Application>Microsoft Macintosh PowerPoint</Application>
  <PresentationFormat>On-screen Show (4:3)</PresentationFormat>
  <Paragraphs>44</Paragraphs>
  <Slides>2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</vt:i4>
      </vt:variant>
    </vt:vector>
  </HeadingPairs>
  <TitlesOfParts>
    <vt:vector size="9" baseType="lpstr">
      <vt:lpstr>Arial</vt:lpstr>
      <vt:lpstr>Arial Black</vt:lpstr>
      <vt:lpstr>Calibri</vt:lpstr>
      <vt:lpstr>Calibri Light</vt:lpstr>
      <vt:lpstr>6_Firm Format - English (US)</vt:lpstr>
      <vt:lpstr>1_Office Theme</vt:lpstr>
      <vt:lpstr>think-cell Slide</vt:lpstr>
      <vt:lpstr>Worksheet discussion template</vt:lpstr>
      <vt:lpstr>Example: Roles and responsibilities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Worksheet discussion template</dc:title>
  <dc:creator>Clelia Froguel</dc:creator>
  <cp:lastModifiedBy>Clelia Froguel</cp:lastModifiedBy>
  <cp:revision>1</cp:revision>
  <dcterms:created xsi:type="dcterms:W3CDTF">2020-10-27T14:15:45Z</dcterms:created>
  <dcterms:modified xsi:type="dcterms:W3CDTF">2020-10-27T14:21:41Z</dcterms:modified>
</cp:coreProperties>
</file>